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8" r:id="rId4"/>
    <p:sldMasterId id="2147483799" r:id="rId5"/>
    <p:sldMasterId id="2147483804" r:id="rId6"/>
  </p:sldMasterIdLst>
  <p:notesMasterIdLst>
    <p:notesMasterId r:id="rId8"/>
  </p:notesMasterIdLst>
  <p:handoutMasterIdLst>
    <p:handoutMasterId r:id="rId9"/>
  </p:handoutMasterIdLst>
  <p:sldIdLst>
    <p:sldId id="266" r:id="rId7"/>
  </p:sldIdLst>
  <p:sldSz cx="30275213" cy="4280376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BA4CC"/>
    <a:srgbClr val="0A7B99"/>
    <a:srgbClr val="83B725"/>
    <a:srgbClr val="A3C662"/>
    <a:srgbClr val="E0F2C0"/>
    <a:srgbClr val="026681"/>
    <a:srgbClr val="358342"/>
    <a:srgbClr val="7F7F7F"/>
    <a:srgbClr val="144466"/>
    <a:srgbClr val="01A9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7E745A-8498-4A17-B05D-25255A5F7882}" v="1072" dt="2025-12-03T16:32:22.470"/>
    <p1510:client id="{63424372-F467-E12A-AA66-50CA246CEF30}" v="16" dt="2025-12-03T15:53:05.646"/>
    <p1510:client id="{EF451574-E240-46D6-9838-2E6A1B1653DF}" v="293" dt="2025-12-03T15:22:05.7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50" d="100"/>
          <a:sy n="50" d="100"/>
        </p:scale>
        <p:origin x="2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9" d="100"/>
          <a:sy n="99" d="100"/>
        </p:scale>
        <p:origin x="357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lorian Stamer" userId="819af116-097a-4b08-a44c-80efac27335b" providerId="ADAL" clId="{7CD05543-22C6-4FB7-8B85-10821E212940}"/>
    <pc:docChg chg="modSld sldOrd">
      <pc:chgData name="Florian Stamer" userId="819af116-097a-4b08-a44c-80efac27335b" providerId="ADAL" clId="{7CD05543-22C6-4FB7-8B85-10821E212940}" dt="2025-12-04T11:59:07.442" v="1"/>
      <pc:docMkLst>
        <pc:docMk/>
      </pc:docMkLst>
      <pc:sldChg chg="ord">
        <pc:chgData name="Florian Stamer" userId="819af116-097a-4b08-a44c-80efac27335b" providerId="ADAL" clId="{7CD05543-22C6-4FB7-8B85-10821E212940}" dt="2025-12-04T11:59:07.442" v="1"/>
        <pc:sldMkLst>
          <pc:docMk/>
          <pc:sldMk cId="4020169674" sldId="261"/>
        </pc:sldMkLst>
      </pc:sldChg>
      <pc:sldChg chg="ord">
        <pc:chgData name="Florian Stamer" userId="819af116-097a-4b08-a44c-80efac27335b" providerId="ADAL" clId="{7CD05543-22C6-4FB7-8B85-10821E212940}" dt="2025-12-04T11:59:07.442" v="1"/>
        <pc:sldMkLst>
          <pc:docMk/>
          <pc:sldMk cId="2249927363" sldId="263"/>
        </pc:sldMkLst>
      </pc:sldChg>
      <pc:sldChg chg="ord">
        <pc:chgData name="Florian Stamer" userId="819af116-097a-4b08-a44c-80efac27335b" providerId="ADAL" clId="{7CD05543-22C6-4FB7-8B85-10821E212940}" dt="2025-12-04T11:59:07.442" v="1"/>
        <pc:sldMkLst>
          <pc:docMk/>
          <pc:sldMk cId="4112063645" sldId="265"/>
        </pc:sldMkLst>
      </pc:sldChg>
    </pc:docChg>
  </pc:docChgLst>
  <pc:docChgLst>
    <pc:chgData name="Bilen, Ali (WBK)" userId="S::ali.bilen_kit.edu#ext#@leuphanalg.onmicrosoft.com::cd6641da-30ce-4ed4-87f7-4719254289fc" providerId="AD" clId="Web-{63424372-F467-E12A-AA66-50CA246CEF30}"/>
    <pc:docChg chg="modSld">
      <pc:chgData name="Bilen, Ali (WBK)" userId="S::ali.bilen_kit.edu#ext#@leuphanalg.onmicrosoft.com::cd6641da-30ce-4ed4-87f7-4719254289fc" providerId="AD" clId="Web-{63424372-F467-E12A-AA66-50CA246CEF30}" dt="2025-12-03T15:53:05.646" v="6" actId="1076"/>
      <pc:docMkLst>
        <pc:docMk/>
      </pc:docMkLst>
      <pc:sldChg chg="addSp delSp modSp">
        <pc:chgData name="Bilen, Ali (WBK)" userId="S::ali.bilen_kit.edu#ext#@leuphanalg.onmicrosoft.com::cd6641da-30ce-4ed4-87f7-4719254289fc" providerId="AD" clId="Web-{63424372-F467-E12A-AA66-50CA246CEF30}" dt="2025-12-03T15:53:05.646" v="6" actId="1076"/>
        <pc:sldMkLst>
          <pc:docMk/>
          <pc:sldMk cId="2611591563" sldId="266"/>
        </pc:sldMkLst>
        <pc:spChg chg="mod">
          <ac:chgData name="Bilen, Ali (WBK)" userId="S::ali.bilen_kit.edu#ext#@leuphanalg.onmicrosoft.com::cd6641da-30ce-4ed4-87f7-4719254289fc" providerId="AD" clId="Web-{63424372-F467-E12A-AA66-50CA246CEF30}" dt="2025-12-03T15:53:05.646" v="6" actId="1076"/>
          <ac:spMkLst>
            <pc:docMk/>
            <pc:sldMk cId="2611591563" sldId="266"/>
            <ac:spMk id="346" creationId="{D57B582C-D067-7FBA-E8BF-0C136FD3A389}"/>
          </ac:spMkLst>
        </pc:spChg>
        <pc:grpChg chg="add del mod">
          <ac:chgData name="Bilen, Ali (WBK)" userId="S::ali.bilen_kit.edu#ext#@leuphanalg.onmicrosoft.com::cd6641da-30ce-4ed4-87f7-4719254289fc" providerId="AD" clId="Web-{63424372-F467-E12A-AA66-50CA246CEF30}" dt="2025-12-03T15:52:52.521" v="2" actId="1076"/>
          <ac:grpSpMkLst>
            <pc:docMk/>
            <pc:sldMk cId="2611591563" sldId="266"/>
            <ac:grpSpMk id="86" creationId="{BDB132AB-85E7-5583-DEDA-B97D67898FDF}"/>
          </ac:grpSpMkLst>
        </pc:grpChg>
        <pc:picChg chg="mod">
          <ac:chgData name="Bilen, Ali (WBK)" userId="S::ali.bilen_kit.edu#ext#@leuphanalg.onmicrosoft.com::cd6641da-30ce-4ed4-87f7-4719254289fc" providerId="AD" clId="Web-{63424372-F467-E12A-AA66-50CA246CEF30}" dt="2025-12-03T15:53:02.896" v="5" actId="1076"/>
          <ac:picMkLst>
            <pc:docMk/>
            <pc:sldMk cId="2611591563" sldId="266"/>
            <ac:picMk id="85" creationId="{94B1B3DD-64F0-AF42-077B-D2125CFC0930}"/>
          </ac:picMkLst>
        </pc:picChg>
        <pc:cxnChg chg="mod">
          <ac:chgData name="Bilen, Ali (WBK)" userId="S::ali.bilen_kit.edu#ext#@leuphanalg.onmicrosoft.com::cd6641da-30ce-4ed4-87f7-4719254289fc" providerId="AD" clId="Web-{63424372-F467-E12A-AA66-50CA246CEF30}" dt="2025-12-03T15:52:48.864" v="1"/>
          <ac:cxnSpMkLst>
            <pc:docMk/>
            <pc:sldMk cId="2611591563" sldId="266"/>
            <ac:cxnSpMk id="120" creationId="{2FB53335-EF96-AF98-A9FF-0B14479FC92C}"/>
          </ac:cxnSpMkLst>
        </pc:cxnChg>
        <pc:cxnChg chg="mod">
          <ac:chgData name="Bilen, Ali (WBK)" userId="S::ali.bilen_kit.edu#ext#@leuphanalg.onmicrosoft.com::cd6641da-30ce-4ed4-87f7-4719254289fc" providerId="AD" clId="Web-{63424372-F467-E12A-AA66-50CA246CEF30}" dt="2025-12-03T15:52:48.864" v="1"/>
          <ac:cxnSpMkLst>
            <pc:docMk/>
            <pc:sldMk cId="2611591563" sldId="266"/>
            <ac:cxnSpMk id="123" creationId="{82C86C5E-F5BA-0574-F173-6A157D352948}"/>
          </ac:cxnSpMkLst>
        </pc:cxnChg>
        <pc:cxnChg chg="mod">
          <ac:chgData name="Bilen, Ali (WBK)" userId="S::ali.bilen_kit.edu#ext#@leuphanalg.onmicrosoft.com::cd6641da-30ce-4ed4-87f7-4719254289fc" providerId="AD" clId="Web-{63424372-F467-E12A-AA66-50CA246CEF30}" dt="2025-12-03T15:52:48.864" v="1"/>
          <ac:cxnSpMkLst>
            <pc:docMk/>
            <pc:sldMk cId="2611591563" sldId="266"/>
            <ac:cxnSpMk id="124" creationId="{52C69E74-0823-97E8-70E2-DE06CFCC204E}"/>
          </ac:cxnSpMkLst>
        </pc:cxnChg>
        <pc:cxnChg chg="mod">
          <ac:chgData name="Bilen, Ali (WBK)" userId="S::ali.bilen_kit.edu#ext#@leuphanalg.onmicrosoft.com::cd6641da-30ce-4ed4-87f7-4719254289fc" providerId="AD" clId="Web-{63424372-F467-E12A-AA66-50CA246CEF30}" dt="2025-12-03T15:52:48.864" v="1"/>
          <ac:cxnSpMkLst>
            <pc:docMk/>
            <pc:sldMk cId="2611591563" sldId="266"/>
            <ac:cxnSpMk id="128" creationId="{A3EEF315-BB87-6720-51A0-0874E7903F05}"/>
          </ac:cxnSpMkLst>
        </pc:cxnChg>
        <pc:cxnChg chg="mod">
          <ac:chgData name="Bilen, Ali (WBK)" userId="S::ali.bilen_kit.edu#ext#@leuphanalg.onmicrosoft.com::cd6641da-30ce-4ed4-87f7-4719254289fc" providerId="AD" clId="Web-{63424372-F467-E12A-AA66-50CA246CEF30}" dt="2025-12-03T15:52:48.864" v="1"/>
          <ac:cxnSpMkLst>
            <pc:docMk/>
            <pc:sldMk cId="2611591563" sldId="266"/>
            <ac:cxnSpMk id="131" creationId="{EAF0AA6D-0F03-2541-F033-B49AD25F41F2}"/>
          </ac:cxnSpMkLst>
        </pc:cxnChg>
        <pc:cxnChg chg="mod">
          <ac:chgData name="Bilen, Ali (WBK)" userId="S::ali.bilen_kit.edu#ext#@leuphanalg.onmicrosoft.com::cd6641da-30ce-4ed4-87f7-4719254289fc" providerId="AD" clId="Web-{63424372-F467-E12A-AA66-50CA246CEF30}" dt="2025-12-03T15:52:48.864" v="1"/>
          <ac:cxnSpMkLst>
            <pc:docMk/>
            <pc:sldMk cId="2611591563" sldId="266"/>
            <ac:cxnSpMk id="135" creationId="{470AEB5C-A711-76EF-4BAF-F24E22B9ACCB}"/>
          </ac:cxnSpMkLst>
        </pc:cxnChg>
        <pc:cxnChg chg="mod">
          <ac:chgData name="Bilen, Ali (WBK)" userId="S::ali.bilen_kit.edu#ext#@leuphanalg.onmicrosoft.com::cd6641da-30ce-4ed4-87f7-4719254289fc" providerId="AD" clId="Web-{63424372-F467-E12A-AA66-50CA246CEF30}" dt="2025-12-03T15:52:48.864" v="1"/>
          <ac:cxnSpMkLst>
            <pc:docMk/>
            <pc:sldMk cId="2611591563" sldId="266"/>
            <ac:cxnSpMk id="136" creationId="{191B7D4E-CDE7-2907-1FDE-553BEA01271C}"/>
          </ac:cxnSpMkLst>
        </pc:cxnChg>
      </pc:sldChg>
    </pc:docChg>
  </pc:docChgLst>
  <pc:docChgLst>
    <pc:chgData name="Bilen, Ali (WBK)" userId="989ddebd-c318-4b9f-822f-357678c6b1a4" providerId="ADAL" clId="{D5D624E0-F16E-48BD-81EC-613E585E3D4E}"/>
    <pc:docChg chg="undo custSel modSld">
      <pc:chgData name="Bilen, Ali (WBK)" userId="989ddebd-c318-4b9f-822f-357678c6b1a4" providerId="ADAL" clId="{D5D624E0-F16E-48BD-81EC-613E585E3D4E}" dt="2025-12-03T16:32:56.018" v="1126" actId="948"/>
      <pc:docMkLst>
        <pc:docMk/>
      </pc:docMkLst>
      <pc:sldChg chg="addSp delSp modSp mod modAnim">
        <pc:chgData name="Bilen, Ali (WBK)" userId="989ddebd-c318-4b9f-822f-357678c6b1a4" providerId="ADAL" clId="{D5D624E0-F16E-48BD-81EC-613E585E3D4E}" dt="2025-12-03T16:32:56.018" v="1126" actId="948"/>
        <pc:sldMkLst>
          <pc:docMk/>
          <pc:sldMk cId="2611591563" sldId="266"/>
        </pc:sldMkLst>
        <pc:spChg chg="mod ord">
          <ac:chgData name="Bilen, Ali (WBK)" userId="989ddebd-c318-4b9f-822f-357678c6b1a4" providerId="ADAL" clId="{D5D624E0-F16E-48BD-81EC-613E585E3D4E}" dt="2025-12-03T16:32:22.459" v="1068"/>
          <ac:spMkLst>
            <pc:docMk/>
            <pc:sldMk cId="2611591563" sldId="266"/>
            <ac:spMk id="2" creationId="{CD2100B9-E636-1B8F-6EDE-AD4E9ADECA64}"/>
          </ac:spMkLst>
        </pc:spChg>
        <pc:spChg chg="mod ord">
          <ac:chgData name="Bilen, Ali (WBK)" userId="989ddebd-c318-4b9f-822f-357678c6b1a4" providerId="ADAL" clId="{D5D624E0-F16E-48BD-81EC-613E585E3D4E}" dt="2025-12-03T16:32:22.463" v="1080"/>
          <ac:spMkLst>
            <pc:docMk/>
            <pc:sldMk cId="2611591563" sldId="266"/>
            <ac:spMk id="8" creationId="{8464F331-4E68-DA2C-0895-D39622F654F4}"/>
          </ac:spMkLst>
        </pc:spChg>
        <pc:spChg chg="mod ord">
          <ac:chgData name="Bilen, Ali (WBK)" userId="989ddebd-c318-4b9f-822f-357678c6b1a4" providerId="ADAL" clId="{D5D624E0-F16E-48BD-81EC-613E585E3D4E}" dt="2025-12-03T16:32:22.462" v="1076"/>
          <ac:spMkLst>
            <pc:docMk/>
            <pc:sldMk cId="2611591563" sldId="266"/>
            <ac:spMk id="16" creationId="{D9A6940C-B48A-1BE4-9355-12D127DED41A}"/>
          </ac:spMkLst>
        </pc:spChg>
        <pc:spChg chg="mod ord">
          <ac:chgData name="Bilen, Ali (WBK)" userId="989ddebd-c318-4b9f-822f-357678c6b1a4" providerId="ADAL" clId="{D5D624E0-F16E-48BD-81EC-613E585E3D4E}" dt="2025-12-03T16:32:22.447" v="992"/>
          <ac:spMkLst>
            <pc:docMk/>
            <pc:sldMk cId="2611591563" sldId="266"/>
            <ac:spMk id="17" creationId="{6C516D21-45A5-239A-8692-16D4FEE7EF25}"/>
          </ac:spMkLst>
        </pc:spChg>
        <pc:spChg chg="mod ord">
          <ac:chgData name="Bilen, Ali (WBK)" userId="989ddebd-c318-4b9f-822f-357678c6b1a4" providerId="ADAL" clId="{D5D624E0-F16E-48BD-81EC-613E585E3D4E}" dt="2025-12-03T16:32:22.447" v="994"/>
          <ac:spMkLst>
            <pc:docMk/>
            <pc:sldMk cId="2611591563" sldId="266"/>
            <ac:spMk id="18" creationId="{F9D794F8-7EB2-2B07-17C8-8019B15CD8F0}"/>
          </ac:spMkLst>
        </pc:spChg>
        <pc:spChg chg="mod ord">
          <ac:chgData name="Bilen, Ali (WBK)" userId="989ddebd-c318-4b9f-822f-357678c6b1a4" providerId="ADAL" clId="{D5D624E0-F16E-48BD-81EC-613E585E3D4E}" dt="2025-12-03T16:32:22.463" v="1078"/>
          <ac:spMkLst>
            <pc:docMk/>
            <pc:sldMk cId="2611591563" sldId="266"/>
            <ac:spMk id="19" creationId="{22FBBCAC-8F0E-D3A7-6706-0109FD1F8E99}"/>
          </ac:spMkLst>
        </pc:spChg>
        <pc:spChg chg="mod ord">
          <ac:chgData name="Bilen, Ali (WBK)" userId="989ddebd-c318-4b9f-822f-357678c6b1a4" providerId="ADAL" clId="{D5D624E0-F16E-48BD-81EC-613E585E3D4E}" dt="2025-12-03T16:32:22.465" v="1092"/>
          <ac:spMkLst>
            <pc:docMk/>
            <pc:sldMk cId="2611591563" sldId="266"/>
            <ac:spMk id="24" creationId="{0A2DD4E0-4203-29A5-6F7E-3C8F9494A6D5}"/>
          </ac:spMkLst>
        </pc:spChg>
        <pc:spChg chg="mod ord">
          <ac:chgData name="Bilen, Ali (WBK)" userId="989ddebd-c318-4b9f-822f-357678c6b1a4" providerId="ADAL" clId="{D5D624E0-F16E-48BD-81EC-613E585E3D4E}" dt="2025-12-03T16:32:22.448" v="996"/>
          <ac:spMkLst>
            <pc:docMk/>
            <pc:sldMk cId="2611591563" sldId="266"/>
            <ac:spMk id="25" creationId="{AB62E61E-9E43-CB51-BC6B-0A65B426E713}"/>
          </ac:spMkLst>
        </pc:spChg>
        <pc:spChg chg="del">
          <ac:chgData name="Bilen, Ali (WBK)" userId="989ddebd-c318-4b9f-822f-357678c6b1a4" providerId="ADAL" clId="{D5D624E0-F16E-48BD-81EC-613E585E3D4E}" dt="2025-12-03T16:25:08.214" v="96" actId="478"/>
          <ac:spMkLst>
            <pc:docMk/>
            <pc:sldMk cId="2611591563" sldId="266"/>
            <ac:spMk id="26" creationId="{AF9C8FC4-BD2B-F61A-3678-A581977CAA73}"/>
          </ac:spMkLst>
        </pc:spChg>
        <pc:spChg chg="mod ord">
          <ac:chgData name="Bilen, Ali (WBK)" userId="989ddebd-c318-4b9f-822f-357678c6b1a4" providerId="ADAL" clId="{D5D624E0-F16E-48BD-81EC-613E585E3D4E}" dt="2025-12-03T16:32:22.448" v="998"/>
          <ac:spMkLst>
            <pc:docMk/>
            <pc:sldMk cId="2611591563" sldId="266"/>
            <ac:spMk id="31" creationId="{33F1D5CB-E365-0D6F-5A72-725C2B6B0C8B}"/>
          </ac:spMkLst>
        </pc:spChg>
        <pc:spChg chg="mod ord">
          <ac:chgData name="Bilen, Ali (WBK)" userId="989ddebd-c318-4b9f-822f-357678c6b1a4" providerId="ADAL" clId="{D5D624E0-F16E-48BD-81EC-613E585E3D4E}" dt="2025-12-03T16:32:22.465" v="1094"/>
          <ac:spMkLst>
            <pc:docMk/>
            <pc:sldMk cId="2611591563" sldId="266"/>
            <ac:spMk id="34" creationId="{E6EED51E-2608-D3E0-0655-809BA38E34AB}"/>
          </ac:spMkLst>
        </pc:spChg>
        <pc:spChg chg="del mod">
          <ac:chgData name="Bilen, Ali (WBK)" userId="989ddebd-c318-4b9f-822f-357678c6b1a4" providerId="ADAL" clId="{D5D624E0-F16E-48BD-81EC-613E585E3D4E}" dt="2025-12-03T16:25:14.637" v="98" actId="478"/>
          <ac:spMkLst>
            <pc:docMk/>
            <pc:sldMk cId="2611591563" sldId="266"/>
            <ac:spMk id="35" creationId="{FBB23D73-9CD8-30A9-C884-E7919BDBC6A5}"/>
          </ac:spMkLst>
        </pc:spChg>
        <pc:spChg chg="mod ord">
          <ac:chgData name="Bilen, Ali (WBK)" userId="989ddebd-c318-4b9f-822f-357678c6b1a4" providerId="ADAL" clId="{D5D624E0-F16E-48BD-81EC-613E585E3D4E}" dt="2025-12-03T16:32:22.448" v="1000"/>
          <ac:spMkLst>
            <pc:docMk/>
            <pc:sldMk cId="2611591563" sldId="266"/>
            <ac:spMk id="36" creationId="{BB2F0CFB-11B7-1B61-A4C9-F0028D797692}"/>
          </ac:spMkLst>
        </pc:spChg>
        <pc:spChg chg="mod ord">
          <ac:chgData name="Bilen, Ali (WBK)" userId="989ddebd-c318-4b9f-822f-357678c6b1a4" providerId="ADAL" clId="{D5D624E0-F16E-48BD-81EC-613E585E3D4E}" dt="2025-12-03T16:32:22.465" v="1096"/>
          <ac:spMkLst>
            <pc:docMk/>
            <pc:sldMk cId="2611591563" sldId="266"/>
            <ac:spMk id="37" creationId="{177BBC31-8904-CE5C-BE87-03EBA1862008}"/>
          </ac:spMkLst>
        </pc:spChg>
        <pc:spChg chg="add mod ord">
          <ac:chgData name="Bilen, Ali (WBK)" userId="989ddebd-c318-4b9f-822f-357678c6b1a4" providerId="ADAL" clId="{D5D624E0-F16E-48BD-81EC-613E585E3D4E}" dt="2025-12-03T16:32:22.466" v="1098"/>
          <ac:spMkLst>
            <pc:docMk/>
            <pc:sldMk cId="2611591563" sldId="266"/>
            <ac:spMk id="39" creationId="{00266EBE-FAB8-68DD-B756-A02400D523EE}"/>
          </ac:spMkLst>
        </pc:spChg>
        <pc:spChg chg="add mod">
          <ac:chgData name="Bilen, Ali (WBK)" userId="989ddebd-c318-4b9f-822f-357678c6b1a4" providerId="ADAL" clId="{D5D624E0-F16E-48BD-81EC-613E585E3D4E}" dt="2025-12-03T15:55:57.569" v="19" actId="1076"/>
          <ac:spMkLst>
            <pc:docMk/>
            <pc:sldMk cId="2611591563" sldId="266"/>
            <ac:spMk id="40" creationId="{C06DFA61-B648-FECC-026C-2A0C7E2F0197}"/>
          </ac:spMkLst>
        </pc:spChg>
        <pc:spChg chg="mod ord">
          <ac:chgData name="Bilen, Ali (WBK)" userId="989ddebd-c318-4b9f-822f-357678c6b1a4" providerId="ADAL" clId="{D5D624E0-F16E-48BD-81EC-613E585E3D4E}" dt="2025-12-03T16:32:22.450" v="1012"/>
          <ac:spMkLst>
            <pc:docMk/>
            <pc:sldMk cId="2611591563" sldId="266"/>
            <ac:spMk id="43" creationId="{CBBB8AF9-9782-64BF-37E0-9B83D7D05E5E}"/>
          </ac:spMkLst>
        </pc:spChg>
        <pc:spChg chg="mod ord">
          <ac:chgData name="Bilen, Ali (WBK)" userId="989ddebd-c318-4b9f-822f-357678c6b1a4" providerId="ADAL" clId="{D5D624E0-F16E-48BD-81EC-613E585E3D4E}" dt="2025-12-03T16:32:22.450" v="1014"/>
          <ac:spMkLst>
            <pc:docMk/>
            <pc:sldMk cId="2611591563" sldId="266"/>
            <ac:spMk id="44" creationId="{F4FAC9B2-310D-CCF3-9AC8-66BC8886A723}"/>
          </ac:spMkLst>
        </pc:spChg>
        <pc:spChg chg="mod ord">
          <ac:chgData name="Bilen, Ali (WBK)" userId="989ddebd-c318-4b9f-822f-357678c6b1a4" providerId="ADAL" clId="{D5D624E0-F16E-48BD-81EC-613E585E3D4E}" dt="2025-12-03T16:32:22.447" v="990"/>
          <ac:spMkLst>
            <pc:docMk/>
            <pc:sldMk cId="2611591563" sldId="266"/>
            <ac:spMk id="47" creationId="{8251082C-97CE-547E-B696-4AA55AED587F}"/>
          </ac:spMkLst>
        </pc:spChg>
        <pc:spChg chg="mod ord">
          <ac:chgData name="Bilen, Ali (WBK)" userId="989ddebd-c318-4b9f-822f-357678c6b1a4" providerId="ADAL" clId="{D5D624E0-F16E-48BD-81EC-613E585E3D4E}" dt="2025-12-03T16:32:22.449" v="1002"/>
          <ac:spMkLst>
            <pc:docMk/>
            <pc:sldMk cId="2611591563" sldId="266"/>
            <ac:spMk id="48" creationId="{B929C4BB-696A-03EB-0369-0B66A8B7B4E8}"/>
          </ac:spMkLst>
        </pc:spChg>
        <pc:spChg chg="mod ord">
          <ac:chgData name="Bilen, Ali (WBK)" userId="989ddebd-c318-4b9f-822f-357678c6b1a4" providerId="ADAL" clId="{D5D624E0-F16E-48BD-81EC-613E585E3D4E}" dt="2025-12-03T16:32:22.451" v="1016"/>
          <ac:spMkLst>
            <pc:docMk/>
            <pc:sldMk cId="2611591563" sldId="266"/>
            <ac:spMk id="51" creationId="{2581C2FA-63DA-45C5-324C-F99670E14549}"/>
          </ac:spMkLst>
        </pc:spChg>
        <pc:spChg chg="mod">
          <ac:chgData name="Bilen, Ali (WBK)" userId="989ddebd-c318-4b9f-822f-357678c6b1a4" providerId="ADAL" clId="{D5D624E0-F16E-48BD-81EC-613E585E3D4E}" dt="2025-12-03T16:24:11.888" v="23"/>
          <ac:spMkLst>
            <pc:docMk/>
            <pc:sldMk cId="2611591563" sldId="266"/>
            <ac:spMk id="54" creationId="{43C5ECFE-68F7-F5D8-3022-A1E2E7113120}"/>
          </ac:spMkLst>
        </pc:spChg>
        <pc:spChg chg="mod">
          <ac:chgData name="Bilen, Ali (WBK)" userId="989ddebd-c318-4b9f-822f-357678c6b1a4" providerId="ADAL" clId="{D5D624E0-F16E-48BD-81EC-613E585E3D4E}" dt="2025-12-03T16:24:11.888" v="23"/>
          <ac:spMkLst>
            <pc:docMk/>
            <pc:sldMk cId="2611591563" sldId="266"/>
            <ac:spMk id="57" creationId="{2B1EECC8-003E-7FC4-0E57-FF4B1F8A899F}"/>
          </ac:spMkLst>
        </pc:spChg>
        <pc:spChg chg="mod">
          <ac:chgData name="Bilen, Ali (WBK)" userId="989ddebd-c318-4b9f-822f-357678c6b1a4" providerId="ADAL" clId="{D5D624E0-F16E-48BD-81EC-613E585E3D4E}" dt="2025-12-03T16:24:11.888" v="23"/>
          <ac:spMkLst>
            <pc:docMk/>
            <pc:sldMk cId="2611591563" sldId="266"/>
            <ac:spMk id="58" creationId="{0FE129F8-6674-C4D1-5627-1E20B6DC2A83}"/>
          </ac:spMkLst>
        </pc:spChg>
        <pc:spChg chg="add mod ord topLvl">
          <ac:chgData name="Bilen, Ali (WBK)" userId="989ddebd-c318-4b9f-822f-357678c6b1a4" providerId="ADAL" clId="{D5D624E0-F16E-48BD-81EC-613E585E3D4E}" dt="2025-12-03T16:32:22.467" v="1104"/>
          <ac:spMkLst>
            <pc:docMk/>
            <pc:sldMk cId="2611591563" sldId="266"/>
            <ac:spMk id="60" creationId="{0E16C7FF-C3F9-D5E5-A7D6-B7F1BEC21B8C}"/>
          </ac:spMkLst>
        </pc:spChg>
        <pc:spChg chg="mod ord">
          <ac:chgData name="Bilen, Ali (WBK)" userId="989ddebd-c318-4b9f-822f-357678c6b1a4" providerId="ADAL" clId="{D5D624E0-F16E-48BD-81EC-613E585E3D4E}" dt="2025-12-03T16:32:22.468" v="1110"/>
          <ac:spMkLst>
            <pc:docMk/>
            <pc:sldMk cId="2611591563" sldId="266"/>
            <ac:spMk id="61" creationId="{5C91EE36-7CE2-F8A9-75E1-3C7BC989EB4A}"/>
          </ac:spMkLst>
        </pc:spChg>
        <pc:spChg chg="add mod ord topLvl">
          <ac:chgData name="Bilen, Ali (WBK)" userId="989ddebd-c318-4b9f-822f-357678c6b1a4" providerId="ADAL" clId="{D5D624E0-F16E-48BD-81EC-613E585E3D4E}" dt="2025-12-03T16:32:22.468" v="1112"/>
          <ac:spMkLst>
            <pc:docMk/>
            <pc:sldMk cId="2611591563" sldId="266"/>
            <ac:spMk id="62" creationId="{015E0B54-52E6-2F7F-4628-21D47F91DC7B}"/>
          </ac:spMkLst>
        </pc:spChg>
        <pc:spChg chg="add mod ord topLvl">
          <ac:chgData name="Bilen, Ali (WBK)" userId="989ddebd-c318-4b9f-822f-357678c6b1a4" providerId="ADAL" clId="{D5D624E0-F16E-48BD-81EC-613E585E3D4E}" dt="2025-12-03T16:32:22.467" v="1106"/>
          <ac:spMkLst>
            <pc:docMk/>
            <pc:sldMk cId="2611591563" sldId="266"/>
            <ac:spMk id="63" creationId="{379A82AC-222F-8DD3-F80B-8FCD2CC467B7}"/>
          </ac:spMkLst>
        </pc:spChg>
        <pc:spChg chg="add mod ord topLvl">
          <ac:chgData name="Bilen, Ali (WBK)" userId="989ddebd-c318-4b9f-822f-357678c6b1a4" providerId="ADAL" clId="{D5D624E0-F16E-48BD-81EC-613E585E3D4E}" dt="2025-12-03T16:28:12.870" v="455" actId="164"/>
          <ac:spMkLst>
            <pc:docMk/>
            <pc:sldMk cId="2611591563" sldId="266"/>
            <ac:spMk id="64" creationId="{8E260126-2633-2155-17D5-DC4586319804}"/>
          </ac:spMkLst>
        </pc:spChg>
        <pc:spChg chg="add mod ord topLvl">
          <ac:chgData name="Bilen, Ali (WBK)" userId="989ddebd-c318-4b9f-822f-357678c6b1a4" providerId="ADAL" clId="{D5D624E0-F16E-48BD-81EC-613E585E3D4E}" dt="2025-12-03T16:28:12.870" v="455" actId="164"/>
          <ac:spMkLst>
            <pc:docMk/>
            <pc:sldMk cId="2611591563" sldId="266"/>
            <ac:spMk id="65" creationId="{5EB1355D-18B6-07EB-CC58-59506CC7DE8D}"/>
          </ac:spMkLst>
        </pc:spChg>
        <pc:spChg chg="mod">
          <ac:chgData name="Bilen, Ali (WBK)" userId="989ddebd-c318-4b9f-822f-357678c6b1a4" providerId="ADAL" clId="{D5D624E0-F16E-48BD-81EC-613E585E3D4E}" dt="2025-12-03T16:27:33.055" v="448" actId="14100"/>
          <ac:spMkLst>
            <pc:docMk/>
            <pc:sldMk cId="2611591563" sldId="266"/>
            <ac:spMk id="67" creationId="{8A31E02D-FE1B-C353-436F-86DB4F8C58C1}"/>
          </ac:spMkLst>
        </pc:spChg>
        <pc:spChg chg="mod">
          <ac:chgData name="Bilen, Ali (WBK)" userId="989ddebd-c318-4b9f-822f-357678c6b1a4" providerId="ADAL" clId="{D5D624E0-F16E-48BD-81EC-613E585E3D4E}" dt="2025-12-03T16:28:04.057" v="454" actId="2085"/>
          <ac:spMkLst>
            <pc:docMk/>
            <pc:sldMk cId="2611591563" sldId="266"/>
            <ac:spMk id="69" creationId="{329E7012-28E0-E1A1-ACD3-6EACED8ADB0D}"/>
          </ac:spMkLst>
        </pc:spChg>
        <pc:spChg chg="mod">
          <ac:chgData name="Bilen, Ali (WBK)" userId="989ddebd-c318-4b9f-822f-357678c6b1a4" providerId="ADAL" clId="{D5D624E0-F16E-48BD-81EC-613E585E3D4E}" dt="2025-12-03T16:28:04.057" v="454" actId="2085"/>
          <ac:spMkLst>
            <pc:docMk/>
            <pc:sldMk cId="2611591563" sldId="266"/>
            <ac:spMk id="70" creationId="{EE6BCD6B-5561-E85C-B678-A9B5DBDCC8C6}"/>
          </ac:spMkLst>
        </pc:spChg>
        <pc:spChg chg="del mod">
          <ac:chgData name="Bilen, Ali (WBK)" userId="989ddebd-c318-4b9f-822f-357678c6b1a4" providerId="ADAL" clId="{D5D624E0-F16E-48BD-81EC-613E585E3D4E}" dt="2025-12-03T16:25:14.637" v="98" actId="478"/>
          <ac:spMkLst>
            <pc:docMk/>
            <pc:sldMk cId="2611591563" sldId="266"/>
            <ac:spMk id="116" creationId="{9667C4A3-B463-0E5D-E3A6-513DD2AFA2E3}"/>
          </ac:spMkLst>
        </pc:spChg>
        <pc:spChg chg="mod ord">
          <ac:chgData name="Bilen, Ali (WBK)" userId="989ddebd-c318-4b9f-822f-357678c6b1a4" providerId="ADAL" clId="{D5D624E0-F16E-48BD-81EC-613E585E3D4E}" dt="2025-12-03T16:32:22.464" v="1084"/>
          <ac:spMkLst>
            <pc:docMk/>
            <pc:sldMk cId="2611591563" sldId="266"/>
            <ac:spMk id="142" creationId="{D58A9A04-3CFA-74C3-CD7E-4686482A67C1}"/>
          </ac:spMkLst>
        </pc:spChg>
        <pc:spChg chg="mod ord">
          <ac:chgData name="Bilen, Ali (WBK)" userId="989ddebd-c318-4b9f-822f-357678c6b1a4" providerId="ADAL" clId="{D5D624E0-F16E-48BD-81EC-613E585E3D4E}" dt="2025-12-03T16:32:22.464" v="1086"/>
          <ac:spMkLst>
            <pc:docMk/>
            <pc:sldMk cId="2611591563" sldId="266"/>
            <ac:spMk id="145" creationId="{176DA749-BB65-DA2A-7717-C00E2A1C3ABE}"/>
          </ac:spMkLst>
        </pc:spChg>
        <pc:spChg chg="mod">
          <ac:chgData name="Bilen, Ali (WBK)" userId="989ddebd-c318-4b9f-822f-357678c6b1a4" providerId="ADAL" clId="{D5D624E0-F16E-48BD-81EC-613E585E3D4E}" dt="2025-12-03T16:30:28.068" v="883" actId="14100"/>
          <ac:spMkLst>
            <pc:docMk/>
            <pc:sldMk cId="2611591563" sldId="266"/>
            <ac:spMk id="146" creationId="{45D1F261-BAD8-5DE1-B06C-6446C83D2772}"/>
          </ac:spMkLst>
        </pc:spChg>
        <pc:spChg chg="mod ord">
          <ac:chgData name="Bilen, Ali (WBK)" userId="989ddebd-c318-4b9f-822f-357678c6b1a4" providerId="ADAL" clId="{D5D624E0-F16E-48BD-81EC-613E585E3D4E}" dt="2025-12-03T16:32:22.453" v="1030"/>
          <ac:spMkLst>
            <pc:docMk/>
            <pc:sldMk cId="2611591563" sldId="266"/>
            <ac:spMk id="150" creationId="{0C9E8631-F1D9-474C-ECCD-BF6AB0A5B7E6}"/>
          </ac:spMkLst>
        </pc:spChg>
        <pc:spChg chg="mod ord">
          <ac:chgData name="Bilen, Ali (WBK)" userId="989ddebd-c318-4b9f-822f-357678c6b1a4" providerId="ADAL" clId="{D5D624E0-F16E-48BD-81EC-613E585E3D4E}" dt="2025-12-03T16:32:22.454" v="1036"/>
          <ac:spMkLst>
            <pc:docMk/>
            <pc:sldMk cId="2611591563" sldId="266"/>
            <ac:spMk id="155" creationId="{A6103549-E6CE-FAAA-CAA5-1666472EE867}"/>
          </ac:spMkLst>
        </pc:spChg>
        <pc:spChg chg="mod">
          <ac:chgData name="Bilen, Ali (WBK)" userId="989ddebd-c318-4b9f-822f-357678c6b1a4" providerId="ADAL" clId="{D5D624E0-F16E-48BD-81EC-613E585E3D4E}" dt="2025-12-03T16:30:24.993" v="882" actId="14100"/>
          <ac:spMkLst>
            <pc:docMk/>
            <pc:sldMk cId="2611591563" sldId="266"/>
            <ac:spMk id="156" creationId="{1782DA9A-EE33-B4BE-209E-7A60ED6AB3AC}"/>
          </ac:spMkLst>
        </pc:spChg>
        <pc:spChg chg="mod ord">
          <ac:chgData name="Bilen, Ali (WBK)" userId="989ddebd-c318-4b9f-822f-357678c6b1a4" providerId="ADAL" clId="{D5D624E0-F16E-48BD-81EC-613E585E3D4E}" dt="2025-12-03T16:32:22.454" v="1038"/>
          <ac:spMkLst>
            <pc:docMk/>
            <pc:sldMk cId="2611591563" sldId="266"/>
            <ac:spMk id="157" creationId="{E4B815CD-BAFA-C773-C9DF-42A6EBBF8D94}"/>
          </ac:spMkLst>
        </pc:spChg>
        <pc:spChg chg="mod">
          <ac:chgData name="Bilen, Ali (WBK)" userId="989ddebd-c318-4b9f-822f-357678c6b1a4" providerId="ADAL" clId="{D5D624E0-F16E-48BD-81EC-613E585E3D4E}" dt="2025-12-03T16:30:34.767" v="886" actId="1076"/>
          <ac:spMkLst>
            <pc:docMk/>
            <pc:sldMk cId="2611591563" sldId="266"/>
            <ac:spMk id="158" creationId="{8DA8D535-4906-A08C-EFBA-F14EF7856403}"/>
          </ac:spMkLst>
        </pc:spChg>
        <pc:spChg chg="add mod ord">
          <ac:chgData name="Bilen, Ali (WBK)" userId="989ddebd-c318-4b9f-822f-357678c6b1a4" providerId="ADAL" clId="{D5D624E0-F16E-48BD-81EC-613E585E3D4E}" dt="2025-12-03T16:29:43.456" v="605" actId="164"/>
          <ac:spMkLst>
            <pc:docMk/>
            <pc:sldMk cId="2611591563" sldId="266"/>
            <ac:spMk id="161" creationId="{5C30BCD4-5521-F214-4D5D-250BE0B8760C}"/>
          </ac:spMkLst>
        </pc:spChg>
        <pc:spChg chg="mod ord">
          <ac:chgData name="Bilen, Ali (WBK)" userId="989ddebd-c318-4b9f-822f-357678c6b1a4" providerId="ADAL" clId="{D5D624E0-F16E-48BD-81EC-613E585E3D4E}" dt="2025-12-03T16:32:22.469" v="1118"/>
          <ac:spMkLst>
            <pc:docMk/>
            <pc:sldMk cId="2611591563" sldId="266"/>
            <ac:spMk id="165" creationId="{D3945E06-5C01-C4AC-C3DE-ABBFA676D4FE}"/>
          </ac:spMkLst>
        </pc:spChg>
        <pc:spChg chg="mod ord">
          <ac:chgData name="Bilen, Ali (WBK)" userId="989ddebd-c318-4b9f-822f-357678c6b1a4" providerId="ADAL" clId="{D5D624E0-F16E-48BD-81EC-613E585E3D4E}" dt="2025-12-03T16:32:22.452" v="1024"/>
          <ac:spMkLst>
            <pc:docMk/>
            <pc:sldMk cId="2611591563" sldId="266"/>
            <ac:spMk id="166" creationId="{37A80C1F-4B6E-D99C-6AC9-61F6B40F6131}"/>
          </ac:spMkLst>
        </pc:spChg>
        <pc:spChg chg="mod">
          <ac:chgData name="Bilen, Ali (WBK)" userId="989ddebd-c318-4b9f-822f-357678c6b1a4" providerId="ADAL" clId="{D5D624E0-F16E-48BD-81EC-613E585E3D4E}" dt="2025-12-03T16:31:30.994" v="890"/>
          <ac:spMkLst>
            <pc:docMk/>
            <pc:sldMk cId="2611591563" sldId="266"/>
            <ac:spMk id="168" creationId="{074A586F-84DC-6621-B789-FCEF313B6112}"/>
          </ac:spMkLst>
        </pc:spChg>
        <pc:spChg chg="mod">
          <ac:chgData name="Bilen, Ali (WBK)" userId="989ddebd-c318-4b9f-822f-357678c6b1a4" providerId="ADAL" clId="{D5D624E0-F16E-48BD-81EC-613E585E3D4E}" dt="2025-12-03T16:31:30.994" v="890"/>
          <ac:spMkLst>
            <pc:docMk/>
            <pc:sldMk cId="2611591563" sldId="266"/>
            <ac:spMk id="169" creationId="{D6DB94B9-524F-BB2D-5782-3EA1DBABB939}"/>
          </ac:spMkLst>
        </pc:spChg>
        <pc:spChg chg="mod">
          <ac:chgData name="Bilen, Ali (WBK)" userId="989ddebd-c318-4b9f-822f-357678c6b1a4" providerId="ADAL" clId="{D5D624E0-F16E-48BD-81EC-613E585E3D4E}" dt="2025-12-03T16:31:30.994" v="890"/>
          <ac:spMkLst>
            <pc:docMk/>
            <pc:sldMk cId="2611591563" sldId="266"/>
            <ac:spMk id="170" creationId="{3046290F-B67F-4EAF-5A98-5D2C131076E2}"/>
          </ac:spMkLst>
        </pc:spChg>
        <pc:spChg chg="mod">
          <ac:chgData name="Bilen, Ali (WBK)" userId="989ddebd-c318-4b9f-822f-357678c6b1a4" providerId="ADAL" clId="{D5D624E0-F16E-48BD-81EC-613E585E3D4E}" dt="2025-12-03T16:31:30.994" v="890"/>
          <ac:spMkLst>
            <pc:docMk/>
            <pc:sldMk cId="2611591563" sldId="266"/>
            <ac:spMk id="171" creationId="{E0A9107E-D8DA-A4BC-7AAC-7B818C11093D}"/>
          </ac:spMkLst>
        </pc:spChg>
        <pc:spChg chg="mod">
          <ac:chgData name="Bilen, Ali (WBK)" userId="989ddebd-c318-4b9f-822f-357678c6b1a4" providerId="ADAL" clId="{D5D624E0-F16E-48BD-81EC-613E585E3D4E}" dt="2025-12-03T16:31:30.994" v="890"/>
          <ac:spMkLst>
            <pc:docMk/>
            <pc:sldMk cId="2611591563" sldId="266"/>
            <ac:spMk id="172" creationId="{3E9374DA-AD28-6173-C34A-326D6379CFD9}"/>
          </ac:spMkLst>
        </pc:spChg>
        <pc:spChg chg="mod">
          <ac:chgData name="Bilen, Ali (WBK)" userId="989ddebd-c318-4b9f-822f-357678c6b1a4" providerId="ADAL" clId="{D5D624E0-F16E-48BD-81EC-613E585E3D4E}" dt="2025-12-03T16:31:30.994" v="890"/>
          <ac:spMkLst>
            <pc:docMk/>
            <pc:sldMk cId="2611591563" sldId="266"/>
            <ac:spMk id="173" creationId="{50E1A72B-BCCA-12BE-E8CE-8E05526738C5}"/>
          </ac:spMkLst>
        </pc:spChg>
        <pc:spChg chg="mod">
          <ac:chgData name="Bilen, Ali (WBK)" userId="989ddebd-c318-4b9f-822f-357678c6b1a4" providerId="ADAL" clId="{D5D624E0-F16E-48BD-81EC-613E585E3D4E}" dt="2025-12-03T16:31:30.994" v="890"/>
          <ac:spMkLst>
            <pc:docMk/>
            <pc:sldMk cId="2611591563" sldId="266"/>
            <ac:spMk id="174" creationId="{CF90C0ED-02FA-16A2-4EFF-0DA20B835990}"/>
          </ac:spMkLst>
        </pc:spChg>
        <pc:spChg chg="del">
          <ac:chgData name="Bilen, Ali (WBK)" userId="989ddebd-c318-4b9f-822f-357678c6b1a4" providerId="ADAL" clId="{D5D624E0-F16E-48BD-81EC-613E585E3D4E}" dt="2025-12-03T16:25:08.214" v="96" actId="478"/>
          <ac:spMkLst>
            <pc:docMk/>
            <pc:sldMk cId="2611591563" sldId="266"/>
            <ac:spMk id="175" creationId="{46142A32-EE1D-A7D7-C7E5-55328FA7C5AB}"/>
          </ac:spMkLst>
        </pc:spChg>
        <pc:spChg chg="mod">
          <ac:chgData name="Bilen, Ali (WBK)" userId="989ddebd-c318-4b9f-822f-357678c6b1a4" providerId="ADAL" clId="{D5D624E0-F16E-48BD-81EC-613E585E3D4E}" dt="2025-12-03T16:31:30.994" v="890"/>
          <ac:spMkLst>
            <pc:docMk/>
            <pc:sldMk cId="2611591563" sldId="266"/>
            <ac:spMk id="176" creationId="{35F5F599-7ED8-14D9-674C-EA66271A0BEE}"/>
          </ac:spMkLst>
        </pc:spChg>
        <pc:spChg chg="mod">
          <ac:chgData name="Bilen, Ali (WBK)" userId="989ddebd-c318-4b9f-822f-357678c6b1a4" providerId="ADAL" clId="{D5D624E0-F16E-48BD-81EC-613E585E3D4E}" dt="2025-12-03T16:31:30.994" v="890"/>
          <ac:spMkLst>
            <pc:docMk/>
            <pc:sldMk cId="2611591563" sldId="266"/>
            <ac:spMk id="177" creationId="{CC8E10BA-7C37-DA02-D74D-DAF9845C06DA}"/>
          </ac:spMkLst>
        </pc:spChg>
        <pc:spChg chg="mod ord">
          <ac:chgData name="Bilen, Ali (WBK)" userId="989ddebd-c318-4b9f-822f-357678c6b1a4" providerId="ADAL" clId="{D5D624E0-F16E-48BD-81EC-613E585E3D4E}" dt="2025-12-03T16:32:22.452" v="1026"/>
          <ac:spMkLst>
            <pc:docMk/>
            <pc:sldMk cId="2611591563" sldId="266"/>
            <ac:spMk id="178" creationId="{ED22139E-D807-BAE2-512A-8E0A873BE553}"/>
          </ac:spMkLst>
        </pc:spChg>
        <pc:spChg chg="mod">
          <ac:chgData name="Bilen, Ali (WBK)" userId="989ddebd-c318-4b9f-822f-357678c6b1a4" providerId="ADAL" clId="{D5D624E0-F16E-48BD-81EC-613E585E3D4E}" dt="2025-12-03T16:31:30.994" v="890"/>
          <ac:spMkLst>
            <pc:docMk/>
            <pc:sldMk cId="2611591563" sldId="266"/>
            <ac:spMk id="179" creationId="{01BC6405-B35B-7945-5268-67E52C89C1CF}"/>
          </ac:spMkLst>
        </pc:spChg>
        <pc:spChg chg="mod">
          <ac:chgData name="Bilen, Ali (WBK)" userId="989ddebd-c318-4b9f-822f-357678c6b1a4" providerId="ADAL" clId="{D5D624E0-F16E-48BD-81EC-613E585E3D4E}" dt="2025-12-03T16:32:05.365" v="905" actId="299"/>
          <ac:spMkLst>
            <pc:docMk/>
            <pc:sldMk cId="2611591563" sldId="266"/>
            <ac:spMk id="184" creationId="{90CDADEB-D212-11CA-A73A-070DEEBBE057}"/>
          </ac:spMkLst>
        </pc:spChg>
        <pc:spChg chg="mod">
          <ac:chgData name="Bilen, Ali (WBK)" userId="989ddebd-c318-4b9f-822f-357678c6b1a4" providerId="ADAL" clId="{D5D624E0-F16E-48BD-81EC-613E585E3D4E}" dt="2025-12-03T16:32:05.370" v="913" actId="299"/>
          <ac:spMkLst>
            <pc:docMk/>
            <pc:sldMk cId="2611591563" sldId="266"/>
            <ac:spMk id="185" creationId="{97CF8B4F-66A3-E96B-7D5A-82F1601FF583}"/>
          </ac:spMkLst>
        </pc:spChg>
        <pc:spChg chg="mod">
          <ac:chgData name="Bilen, Ali (WBK)" userId="989ddebd-c318-4b9f-822f-357678c6b1a4" providerId="ADAL" clId="{D5D624E0-F16E-48BD-81EC-613E585E3D4E}" dt="2025-12-03T16:32:05.374" v="921" actId="299"/>
          <ac:spMkLst>
            <pc:docMk/>
            <pc:sldMk cId="2611591563" sldId="266"/>
            <ac:spMk id="186" creationId="{B2A95F4D-4168-6979-9A74-474D54145C65}"/>
          </ac:spMkLst>
        </pc:spChg>
        <pc:spChg chg="mod">
          <ac:chgData name="Bilen, Ali (WBK)" userId="989ddebd-c318-4b9f-822f-357678c6b1a4" providerId="ADAL" clId="{D5D624E0-F16E-48BD-81EC-613E585E3D4E}" dt="2025-12-03T16:32:05.379" v="929" actId="299"/>
          <ac:spMkLst>
            <pc:docMk/>
            <pc:sldMk cId="2611591563" sldId="266"/>
            <ac:spMk id="187" creationId="{7CFB48B4-9252-674A-829D-7C80E8DE20EC}"/>
          </ac:spMkLst>
        </pc:spChg>
        <pc:spChg chg="mod">
          <ac:chgData name="Bilen, Ali (WBK)" userId="989ddebd-c318-4b9f-822f-357678c6b1a4" providerId="ADAL" clId="{D5D624E0-F16E-48BD-81EC-613E585E3D4E}" dt="2025-12-03T16:32:56.018" v="1126" actId="948"/>
          <ac:spMkLst>
            <pc:docMk/>
            <pc:sldMk cId="2611591563" sldId="266"/>
            <ac:spMk id="188" creationId="{129C140F-3E08-553D-8C0B-E20712337F69}"/>
          </ac:spMkLst>
        </pc:spChg>
        <pc:spChg chg="del mod">
          <ac:chgData name="Bilen, Ali (WBK)" userId="989ddebd-c318-4b9f-822f-357678c6b1a4" providerId="ADAL" clId="{D5D624E0-F16E-48BD-81EC-613E585E3D4E}" dt="2025-12-03T16:32:24.935" v="1121" actId="478"/>
          <ac:spMkLst>
            <pc:docMk/>
            <pc:sldMk cId="2611591563" sldId="266"/>
            <ac:spMk id="189" creationId="{B72F61E2-9545-119F-A9DA-6CAE39127083}"/>
          </ac:spMkLst>
        </pc:spChg>
        <pc:spChg chg="mod">
          <ac:chgData name="Bilen, Ali (WBK)" userId="989ddebd-c318-4b9f-822f-357678c6b1a4" providerId="ADAL" clId="{D5D624E0-F16E-48BD-81EC-613E585E3D4E}" dt="2025-12-03T16:32:05.396" v="955" actId="299"/>
          <ac:spMkLst>
            <pc:docMk/>
            <pc:sldMk cId="2611591563" sldId="266"/>
            <ac:spMk id="190" creationId="{63348682-533C-C7ED-12EC-4F1651DBA266}"/>
          </ac:spMkLst>
        </pc:spChg>
        <pc:spChg chg="mod">
          <ac:chgData name="Bilen, Ali (WBK)" userId="989ddebd-c318-4b9f-822f-357678c6b1a4" providerId="ADAL" clId="{D5D624E0-F16E-48BD-81EC-613E585E3D4E}" dt="2025-12-03T16:32:05.403" v="965" actId="299"/>
          <ac:spMkLst>
            <pc:docMk/>
            <pc:sldMk cId="2611591563" sldId="266"/>
            <ac:spMk id="191" creationId="{EFF7ED50-E444-CCF0-EA76-BFC31652481F}"/>
          </ac:spMkLst>
        </pc:spChg>
        <pc:spChg chg="mod">
          <ac:chgData name="Bilen, Ali (WBK)" userId="989ddebd-c318-4b9f-822f-357678c6b1a4" providerId="ADAL" clId="{D5D624E0-F16E-48BD-81EC-613E585E3D4E}" dt="2025-12-03T16:32:05.407" v="973" actId="299"/>
          <ac:spMkLst>
            <pc:docMk/>
            <pc:sldMk cId="2611591563" sldId="266"/>
            <ac:spMk id="192" creationId="{6A233B85-D418-4BAB-FE3F-2D510781E349}"/>
          </ac:spMkLst>
        </pc:spChg>
        <pc:spChg chg="mod">
          <ac:chgData name="Bilen, Ali (WBK)" userId="989ddebd-c318-4b9f-822f-357678c6b1a4" providerId="ADAL" clId="{D5D624E0-F16E-48BD-81EC-613E585E3D4E}" dt="2025-12-03T16:32:05.412" v="981" actId="299"/>
          <ac:spMkLst>
            <pc:docMk/>
            <pc:sldMk cId="2611591563" sldId="266"/>
            <ac:spMk id="193" creationId="{5E51C3A1-A8EB-E84F-AEA7-D3B58F8CBFEE}"/>
          </ac:spMkLst>
        </pc:spChg>
        <pc:spChg chg="mod ord">
          <ac:chgData name="Bilen, Ali (WBK)" userId="989ddebd-c318-4b9f-822f-357678c6b1a4" providerId="ADAL" clId="{D5D624E0-F16E-48BD-81EC-613E585E3D4E}" dt="2025-12-03T16:32:22.458" v="1062"/>
          <ac:spMkLst>
            <pc:docMk/>
            <pc:sldMk cId="2611591563" sldId="266"/>
            <ac:spMk id="260" creationId="{F6D40B12-3AB3-2575-3260-319876A383B9}"/>
          </ac:spMkLst>
        </pc:spChg>
        <pc:spChg chg="mod ord">
          <ac:chgData name="Bilen, Ali (WBK)" userId="989ddebd-c318-4b9f-822f-357678c6b1a4" providerId="ADAL" clId="{D5D624E0-F16E-48BD-81EC-613E585E3D4E}" dt="2025-12-03T16:32:22.455" v="1044"/>
          <ac:spMkLst>
            <pc:docMk/>
            <pc:sldMk cId="2611591563" sldId="266"/>
            <ac:spMk id="273" creationId="{D781D158-FA1F-D7A8-0FE7-78FCFED9FE60}"/>
          </ac:spMkLst>
        </pc:spChg>
        <pc:spChg chg="mod ord">
          <ac:chgData name="Bilen, Ali (WBK)" userId="989ddebd-c318-4b9f-822f-357678c6b1a4" providerId="ADAL" clId="{D5D624E0-F16E-48BD-81EC-613E585E3D4E}" dt="2025-12-03T16:32:22.455" v="1046"/>
          <ac:spMkLst>
            <pc:docMk/>
            <pc:sldMk cId="2611591563" sldId="266"/>
            <ac:spMk id="274" creationId="{F18FD07A-DEC7-8F07-C366-353E6514C10A}"/>
          </ac:spMkLst>
        </pc:spChg>
        <pc:spChg chg="mod ord">
          <ac:chgData name="Bilen, Ali (WBK)" userId="989ddebd-c318-4b9f-822f-357678c6b1a4" providerId="ADAL" clId="{D5D624E0-F16E-48BD-81EC-613E585E3D4E}" dt="2025-12-03T16:32:22.455" v="1048"/>
          <ac:spMkLst>
            <pc:docMk/>
            <pc:sldMk cId="2611591563" sldId="266"/>
            <ac:spMk id="281" creationId="{1E4B35B3-024D-718A-175E-42E815B304A3}"/>
          </ac:spMkLst>
        </pc:spChg>
        <pc:spChg chg="mod ord">
          <ac:chgData name="Bilen, Ali (WBK)" userId="989ddebd-c318-4b9f-822f-357678c6b1a4" providerId="ADAL" clId="{D5D624E0-F16E-48BD-81EC-613E585E3D4E}" dt="2025-12-03T16:32:22.456" v="1050"/>
          <ac:spMkLst>
            <pc:docMk/>
            <pc:sldMk cId="2611591563" sldId="266"/>
            <ac:spMk id="282" creationId="{C3521902-8A10-DCFB-CEF8-90A7B494D7AF}"/>
          </ac:spMkLst>
        </pc:spChg>
        <pc:spChg chg="mod ord">
          <ac:chgData name="Bilen, Ali (WBK)" userId="989ddebd-c318-4b9f-822f-357678c6b1a4" providerId="ADAL" clId="{D5D624E0-F16E-48BD-81EC-613E585E3D4E}" dt="2025-12-03T16:32:22.456" v="1052"/>
          <ac:spMkLst>
            <pc:docMk/>
            <pc:sldMk cId="2611591563" sldId="266"/>
            <ac:spMk id="283" creationId="{E4D7507D-30A6-CA30-0662-090B01409F8D}"/>
          </ac:spMkLst>
        </pc:spChg>
        <pc:spChg chg="mod ord">
          <ac:chgData name="Bilen, Ali (WBK)" userId="989ddebd-c318-4b9f-822f-357678c6b1a4" providerId="ADAL" clId="{D5D624E0-F16E-48BD-81EC-613E585E3D4E}" dt="2025-12-03T16:32:22.456" v="1054"/>
          <ac:spMkLst>
            <pc:docMk/>
            <pc:sldMk cId="2611591563" sldId="266"/>
            <ac:spMk id="284" creationId="{F9227E00-E186-CE7D-10D6-937EE2E4BE9C}"/>
          </ac:spMkLst>
        </pc:spChg>
        <pc:spChg chg="mod ord">
          <ac:chgData name="Bilen, Ali (WBK)" userId="989ddebd-c318-4b9f-822f-357678c6b1a4" providerId="ADAL" clId="{D5D624E0-F16E-48BD-81EC-613E585E3D4E}" dt="2025-12-03T16:32:22.457" v="1056"/>
          <ac:spMkLst>
            <pc:docMk/>
            <pc:sldMk cId="2611591563" sldId="266"/>
            <ac:spMk id="285" creationId="{9677A41E-EFCE-0692-D4B4-35A91E516202}"/>
          </ac:spMkLst>
        </pc:spChg>
        <pc:spChg chg="mod ord">
          <ac:chgData name="Bilen, Ali (WBK)" userId="989ddebd-c318-4b9f-822f-357678c6b1a4" providerId="ADAL" clId="{D5D624E0-F16E-48BD-81EC-613E585E3D4E}" dt="2025-12-03T16:32:22.457" v="1058"/>
          <ac:spMkLst>
            <pc:docMk/>
            <pc:sldMk cId="2611591563" sldId="266"/>
            <ac:spMk id="286" creationId="{C8529194-558F-5453-4D19-5883ED283EE4}"/>
          </ac:spMkLst>
        </pc:spChg>
        <pc:spChg chg="mod ord">
          <ac:chgData name="Bilen, Ali (WBK)" userId="989ddebd-c318-4b9f-822f-357678c6b1a4" providerId="ADAL" clId="{D5D624E0-F16E-48BD-81EC-613E585E3D4E}" dt="2025-12-03T16:32:22.458" v="1064"/>
          <ac:spMkLst>
            <pc:docMk/>
            <pc:sldMk cId="2611591563" sldId="266"/>
            <ac:spMk id="289" creationId="{9D5995C7-596B-07D0-1572-4C43EA61F6C1}"/>
          </ac:spMkLst>
        </pc:spChg>
        <pc:spChg chg="mod ord">
          <ac:chgData name="Bilen, Ali (WBK)" userId="989ddebd-c318-4b9f-822f-357678c6b1a4" providerId="ADAL" clId="{D5D624E0-F16E-48BD-81EC-613E585E3D4E}" dt="2025-12-03T16:32:22.459" v="1066"/>
          <ac:spMkLst>
            <pc:docMk/>
            <pc:sldMk cId="2611591563" sldId="266"/>
            <ac:spMk id="290" creationId="{4031C18D-75D5-4AD6-FF1F-0CA287CE3B00}"/>
          </ac:spMkLst>
        </pc:spChg>
        <pc:spChg chg="mod ord">
          <ac:chgData name="Bilen, Ali (WBK)" userId="989ddebd-c318-4b9f-822f-357678c6b1a4" providerId="ADAL" clId="{D5D624E0-F16E-48BD-81EC-613E585E3D4E}" dt="2025-12-03T16:32:22.446" v="986"/>
          <ac:spMkLst>
            <pc:docMk/>
            <pc:sldMk cId="2611591563" sldId="266"/>
            <ac:spMk id="291" creationId="{75AC7C23-B429-4030-759A-EA839F471D2B}"/>
          </ac:spMkLst>
        </pc:spChg>
        <pc:spChg chg="mod ord">
          <ac:chgData name="Bilen, Ali (WBK)" userId="989ddebd-c318-4b9f-822f-357678c6b1a4" providerId="ADAL" clId="{D5D624E0-F16E-48BD-81EC-613E585E3D4E}" dt="2025-12-03T16:32:22.466" v="1102"/>
          <ac:spMkLst>
            <pc:docMk/>
            <pc:sldMk cId="2611591563" sldId="266"/>
            <ac:spMk id="293" creationId="{6A426648-A00A-E771-D2D8-C5933BFC7667}"/>
          </ac:spMkLst>
        </pc:spChg>
        <pc:spChg chg="mod ord">
          <ac:chgData name="Bilen, Ali (WBK)" userId="989ddebd-c318-4b9f-822f-357678c6b1a4" providerId="ADAL" clId="{D5D624E0-F16E-48BD-81EC-613E585E3D4E}" dt="2025-12-03T16:32:22.452" v="1022"/>
          <ac:spMkLst>
            <pc:docMk/>
            <pc:sldMk cId="2611591563" sldId="266"/>
            <ac:spMk id="346" creationId="{D57B582C-D067-7FBA-E8BF-0C136FD3A389}"/>
          </ac:spMkLst>
        </pc:spChg>
        <pc:grpChg chg="mod ord">
          <ac:chgData name="Bilen, Ali (WBK)" userId="989ddebd-c318-4b9f-822f-357678c6b1a4" providerId="ADAL" clId="{D5D624E0-F16E-48BD-81EC-613E585E3D4E}" dt="2025-12-03T16:32:22.459" v="1070"/>
          <ac:grpSpMkLst>
            <pc:docMk/>
            <pc:sldMk cId="2611591563" sldId="266"/>
            <ac:grpSpMk id="3" creationId="{A8AB5C9F-E6E2-EE11-3F5F-8B173E3A5EE9}"/>
          </ac:grpSpMkLst>
        </pc:grpChg>
        <pc:grpChg chg="del mod ord">
          <ac:chgData name="Bilen, Ali (WBK)" userId="989ddebd-c318-4b9f-822f-357678c6b1a4" providerId="ADAL" clId="{D5D624E0-F16E-48BD-81EC-613E585E3D4E}" dt="2025-12-03T16:31:24.151" v="887" actId="478"/>
          <ac:grpSpMkLst>
            <pc:docMk/>
            <pc:sldMk cId="2611591563" sldId="266"/>
            <ac:grpSpMk id="20" creationId="{261F287C-76BB-8026-81C2-549AF619E102}"/>
          </ac:grpSpMkLst>
        </pc:grpChg>
        <pc:grpChg chg="del">
          <ac:chgData name="Bilen, Ali (WBK)" userId="989ddebd-c318-4b9f-822f-357678c6b1a4" providerId="ADAL" clId="{D5D624E0-F16E-48BD-81EC-613E585E3D4E}" dt="2025-12-03T16:24:06.924" v="20" actId="478"/>
          <ac:grpSpMkLst>
            <pc:docMk/>
            <pc:sldMk cId="2611591563" sldId="266"/>
            <ac:grpSpMk id="27" creationId="{8785FDC0-5B79-7BE4-6BEB-11227CD08EF9}"/>
          </ac:grpSpMkLst>
        </pc:grpChg>
        <pc:grpChg chg="mod ord">
          <ac:chgData name="Bilen, Ali (WBK)" userId="989ddebd-c318-4b9f-822f-357678c6b1a4" providerId="ADAL" clId="{D5D624E0-F16E-48BD-81EC-613E585E3D4E}" dt="2025-12-03T16:32:22.466" v="1100"/>
          <ac:grpSpMkLst>
            <pc:docMk/>
            <pc:sldMk cId="2611591563" sldId="266"/>
            <ac:grpSpMk id="42" creationId="{6AB867D0-18DB-45A0-B9C9-FEE8F625BDE0}"/>
          </ac:grpSpMkLst>
        </pc:grpChg>
        <pc:grpChg chg="add mod">
          <ac:chgData name="Bilen, Ali (WBK)" userId="989ddebd-c318-4b9f-822f-357678c6b1a4" providerId="ADAL" clId="{D5D624E0-F16E-48BD-81EC-613E585E3D4E}" dt="2025-12-03T16:24:19.742" v="25" actId="1076"/>
          <ac:grpSpMkLst>
            <pc:docMk/>
            <pc:sldMk cId="2611591563" sldId="266"/>
            <ac:grpSpMk id="49" creationId="{0F320A76-39E0-9663-3587-405ACDDE3E41}"/>
          </ac:grpSpMkLst>
        </pc:grpChg>
        <pc:grpChg chg="mod ord">
          <ac:chgData name="Bilen, Ali (WBK)" userId="989ddebd-c318-4b9f-822f-357678c6b1a4" providerId="ADAL" clId="{D5D624E0-F16E-48BD-81EC-613E585E3D4E}" dt="2025-12-03T16:28:12.870" v="455" actId="164"/>
          <ac:grpSpMkLst>
            <pc:docMk/>
            <pc:sldMk cId="2611591563" sldId="266"/>
            <ac:grpSpMk id="66" creationId="{EA945D73-43C2-F59C-2F45-D61165483D6E}"/>
          </ac:grpSpMkLst>
        </pc:grpChg>
        <pc:grpChg chg="mod ord">
          <ac:chgData name="Bilen, Ali (WBK)" userId="989ddebd-c318-4b9f-822f-357678c6b1a4" providerId="ADAL" clId="{D5D624E0-F16E-48BD-81EC-613E585E3D4E}" dt="2025-12-03T16:32:22.463" v="1082"/>
          <ac:grpSpMkLst>
            <pc:docMk/>
            <pc:sldMk cId="2611591563" sldId="266"/>
            <ac:grpSpMk id="71" creationId="{4F2C33A0-61C5-0502-BEBC-8247EAD8C517}"/>
          </ac:grpSpMkLst>
        </pc:grpChg>
        <pc:grpChg chg="mod ord">
          <ac:chgData name="Bilen, Ali (WBK)" userId="989ddebd-c318-4b9f-822f-357678c6b1a4" providerId="ADAL" clId="{D5D624E0-F16E-48BD-81EC-613E585E3D4E}" dt="2025-12-03T16:32:22.452" v="1020"/>
          <ac:grpSpMkLst>
            <pc:docMk/>
            <pc:sldMk cId="2611591563" sldId="266"/>
            <ac:grpSpMk id="86" creationId="{BDB132AB-85E7-5583-DEDA-B97D67898FDF}"/>
          </ac:grpSpMkLst>
        </pc:grpChg>
        <pc:grpChg chg="mod ord">
          <ac:chgData name="Bilen, Ali (WBK)" userId="989ddebd-c318-4b9f-822f-357678c6b1a4" providerId="ADAL" clId="{D5D624E0-F16E-48BD-81EC-613E585E3D4E}" dt="2025-12-03T16:32:22.468" v="1114"/>
          <ac:grpSpMkLst>
            <pc:docMk/>
            <pc:sldMk cId="2611591563" sldId="266"/>
            <ac:grpSpMk id="143" creationId="{96BEE8F7-37F2-32B1-5D36-18141FA8C890}"/>
          </ac:grpSpMkLst>
        </pc:grpChg>
        <pc:grpChg chg="mod ord">
          <ac:chgData name="Bilen, Ali (WBK)" userId="989ddebd-c318-4b9f-822f-357678c6b1a4" providerId="ADAL" clId="{D5D624E0-F16E-48BD-81EC-613E585E3D4E}" dt="2025-12-03T16:32:22.453" v="1032"/>
          <ac:grpSpMkLst>
            <pc:docMk/>
            <pc:sldMk cId="2611591563" sldId="266"/>
            <ac:grpSpMk id="151" creationId="{F32728E8-362D-D396-12FC-30AF8252A6A6}"/>
          </ac:grpSpMkLst>
        </pc:grpChg>
        <pc:grpChg chg="add mod">
          <ac:chgData name="Bilen, Ali (WBK)" userId="989ddebd-c318-4b9f-822f-357678c6b1a4" providerId="ADAL" clId="{D5D624E0-F16E-48BD-81EC-613E585E3D4E}" dt="2025-12-03T16:25:43.250" v="286" actId="14100"/>
          <ac:grpSpMkLst>
            <pc:docMk/>
            <pc:sldMk cId="2611591563" sldId="266"/>
            <ac:grpSpMk id="159" creationId="{E68D82F6-6ADC-61EF-2E26-18F043A7879B}"/>
          </ac:grpSpMkLst>
        </pc:grpChg>
        <pc:grpChg chg="add mod ord">
          <ac:chgData name="Bilen, Ali (WBK)" userId="989ddebd-c318-4b9f-822f-357678c6b1a4" providerId="ADAL" clId="{D5D624E0-F16E-48BD-81EC-613E585E3D4E}" dt="2025-12-03T16:29:43.456" v="605" actId="164"/>
          <ac:grpSpMkLst>
            <pc:docMk/>
            <pc:sldMk cId="2611591563" sldId="266"/>
            <ac:grpSpMk id="160" creationId="{BFBF598B-E09F-E888-04F5-3141D214A7CA}"/>
          </ac:grpSpMkLst>
        </pc:grpChg>
        <pc:grpChg chg="add mod ord">
          <ac:chgData name="Bilen, Ali (WBK)" userId="989ddebd-c318-4b9f-822f-357678c6b1a4" providerId="ADAL" clId="{D5D624E0-F16E-48BD-81EC-613E585E3D4E}" dt="2025-12-03T16:32:22.467" v="1108"/>
          <ac:grpSpMkLst>
            <pc:docMk/>
            <pc:sldMk cId="2611591563" sldId="266"/>
            <ac:grpSpMk id="163" creationId="{35CEA902-93BB-9B39-6575-9CC69067B22B}"/>
          </ac:grpSpMkLst>
        </pc:grpChg>
        <pc:grpChg chg="del mod">
          <ac:chgData name="Bilen, Ali (WBK)" userId="989ddebd-c318-4b9f-822f-357678c6b1a4" providerId="ADAL" clId="{D5D624E0-F16E-48BD-81EC-613E585E3D4E}" dt="2025-12-03T16:31:39.375" v="892" actId="478"/>
          <ac:grpSpMkLst>
            <pc:docMk/>
            <pc:sldMk cId="2611591563" sldId="266"/>
            <ac:grpSpMk id="164" creationId="{BFE5AB69-C2E3-FFD9-5AE7-C3F69449C275}"/>
          </ac:grpSpMkLst>
        </pc:grpChg>
        <pc:grpChg chg="mod ord">
          <ac:chgData name="Bilen, Ali (WBK)" userId="989ddebd-c318-4b9f-822f-357678c6b1a4" providerId="ADAL" clId="{D5D624E0-F16E-48BD-81EC-613E585E3D4E}" dt="2025-12-03T16:32:22.469" v="1116"/>
          <ac:grpSpMkLst>
            <pc:docMk/>
            <pc:sldMk cId="2611591563" sldId="266"/>
            <ac:grpSpMk id="180" creationId="{99460EFA-2791-2951-1B0F-9F57FF70197D}"/>
          </ac:grpSpMkLst>
        </pc:grpChg>
        <pc:grpChg chg="mod ord">
          <ac:chgData name="Bilen, Ali (WBK)" userId="989ddebd-c318-4b9f-822f-357678c6b1a4" providerId="ADAL" clId="{D5D624E0-F16E-48BD-81EC-613E585E3D4E}" dt="2025-12-03T16:32:22.458" v="1060"/>
          <ac:grpSpMkLst>
            <pc:docMk/>
            <pc:sldMk cId="2611591563" sldId="266"/>
            <ac:grpSpMk id="259" creationId="{5A025968-BA32-E180-E2AB-641A6AC1B8C9}"/>
          </ac:grpSpMkLst>
        </pc:grpChg>
        <pc:grpChg chg="mod ord">
          <ac:chgData name="Bilen, Ali (WBK)" userId="989ddebd-c318-4b9f-822f-357678c6b1a4" providerId="ADAL" clId="{D5D624E0-F16E-48BD-81EC-613E585E3D4E}" dt="2025-12-03T16:32:22.455" v="1042"/>
          <ac:grpSpMkLst>
            <pc:docMk/>
            <pc:sldMk cId="2611591563" sldId="266"/>
            <ac:grpSpMk id="280" creationId="{CEE2717B-00B7-EED6-158A-26B63F8890CE}"/>
          </ac:grpSpMkLst>
        </pc:grpChg>
        <pc:graphicFrameChg chg="mod">
          <ac:chgData name="Bilen, Ali (WBK)" userId="989ddebd-c318-4b9f-822f-357678c6b1a4" providerId="ADAL" clId="{D5D624E0-F16E-48BD-81EC-613E585E3D4E}" dt="2025-12-03T16:32:22.470" v="1120"/>
          <ac:graphicFrameMkLst>
            <pc:docMk/>
            <pc:sldMk cId="2611591563" sldId="266"/>
            <ac:graphicFrameMk id="261" creationId="{03789B16-32AE-4371-BAE1-B07A5D59DE3B}"/>
          </ac:graphicFrameMkLst>
        </pc:graphicFrameChg>
        <pc:picChg chg="mod ord">
          <ac:chgData name="Bilen, Ali (WBK)" userId="989ddebd-c318-4b9f-822f-357678c6b1a4" providerId="ADAL" clId="{D5D624E0-F16E-48BD-81EC-613E585E3D4E}" dt="2025-12-03T16:32:22.460" v="1072"/>
          <ac:picMkLst>
            <pc:docMk/>
            <pc:sldMk cId="2611591563" sldId="266"/>
            <ac:picMk id="14" creationId="{DB6E0422-E153-597B-5F91-737AE45EF6FF}"/>
          </ac:picMkLst>
        </pc:picChg>
        <pc:picChg chg="mod ord">
          <ac:chgData name="Bilen, Ali (WBK)" userId="989ddebd-c318-4b9f-822f-357678c6b1a4" providerId="ADAL" clId="{D5D624E0-F16E-48BD-81EC-613E585E3D4E}" dt="2025-12-03T16:32:22.460" v="1074"/>
          <ac:picMkLst>
            <pc:docMk/>
            <pc:sldMk cId="2611591563" sldId="266"/>
            <ac:picMk id="15" creationId="{83372948-E9F8-B25D-7665-07F1453E0111}"/>
          </ac:picMkLst>
        </pc:picChg>
        <pc:picChg chg="add mod modCrop">
          <ac:chgData name="Bilen, Ali (WBK)" userId="989ddebd-c318-4b9f-822f-357678c6b1a4" providerId="ADAL" clId="{D5D624E0-F16E-48BD-81EC-613E585E3D4E}" dt="2025-12-03T15:55:52.941" v="18" actId="1076"/>
          <ac:picMkLst>
            <pc:docMk/>
            <pc:sldMk cId="2611591563" sldId="266"/>
            <ac:picMk id="38" creationId="{57B1A188-D3E7-C073-D5C5-1012C0EA2176}"/>
          </ac:picMkLst>
        </pc:picChg>
        <pc:picChg chg="mod">
          <ac:chgData name="Bilen, Ali (WBK)" userId="989ddebd-c318-4b9f-822f-357678c6b1a4" providerId="ADAL" clId="{D5D624E0-F16E-48BD-81EC-613E585E3D4E}" dt="2025-12-03T16:24:11.888" v="23"/>
          <ac:picMkLst>
            <pc:docMk/>
            <pc:sldMk cId="2611591563" sldId="266"/>
            <ac:picMk id="53" creationId="{4C8A03CC-3A46-BA42-0EA7-1A9FDFBDD94D}"/>
          </ac:picMkLst>
        </pc:picChg>
        <pc:picChg chg="mod ord">
          <ac:chgData name="Bilen, Ali (WBK)" userId="989ddebd-c318-4b9f-822f-357678c6b1a4" providerId="ADAL" clId="{D5D624E0-F16E-48BD-81EC-613E585E3D4E}" dt="2025-12-03T16:28:12.870" v="455" actId="164"/>
          <ac:picMkLst>
            <pc:docMk/>
            <pc:sldMk cId="2611591563" sldId="266"/>
            <ac:picMk id="59" creationId="{00E60649-316D-3001-C38D-448BC0F34157}"/>
          </ac:picMkLst>
        </pc:picChg>
        <pc:picChg chg="mod ord">
          <ac:chgData name="Bilen, Ali (WBK)" userId="989ddebd-c318-4b9f-822f-357678c6b1a4" providerId="ADAL" clId="{D5D624E0-F16E-48BD-81EC-613E585E3D4E}" dt="2025-12-03T16:32:22.451" v="1018"/>
          <ac:picMkLst>
            <pc:docMk/>
            <pc:sldMk cId="2611591563" sldId="266"/>
            <ac:picMk id="85" creationId="{94B1B3DD-64F0-AF42-077B-D2125CFC0930}"/>
          </ac:picMkLst>
        </pc:picChg>
        <pc:picChg chg="mod">
          <ac:chgData name="Bilen, Ali (WBK)" userId="989ddebd-c318-4b9f-822f-357678c6b1a4" providerId="ADAL" clId="{D5D624E0-F16E-48BD-81EC-613E585E3D4E}" dt="2025-12-03T16:30:14.448" v="880" actId="14100"/>
          <ac:picMkLst>
            <pc:docMk/>
            <pc:sldMk cId="2611591563" sldId="266"/>
            <ac:picMk id="144" creationId="{CD40AEAB-10EB-EED2-A6F5-E0AF5A22D3DF}"/>
          </ac:picMkLst>
        </pc:picChg>
        <pc:picChg chg="mod ord">
          <ac:chgData name="Bilen, Ali (WBK)" userId="989ddebd-c318-4b9f-822f-357678c6b1a4" providerId="ADAL" clId="{D5D624E0-F16E-48BD-81EC-613E585E3D4E}" dt="2025-12-03T16:32:22.464" v="1088"/>
          <ac:picMkLst>
            <pc:docMk/>
            <pc:sldMk cId="2611591563" sldId="266"/>
            <ac:picMk id="147" creationId="{501E940D-3CF8-7446-62DC-C986A920ED74}"/>
          </ac:picMkLst>
        </pc:picChg>
        <pc:picChg chg="mod ord">
          <ac:chgData name="Bilen, Ali (WBK)" userId="989ddebd-c318-4b9f-822f-357678c6b1a4" providerId="ADAL" clId="{D5D624E0-F16E-48BD-81EC-613E585E3D4E}" dt="2025-12-03T16:32:22.453" v="1028"/>
          <ac:picMkLst>
            <pc:docMk/>
            <pc:sldMk cId="2611591563" sldId="266"/>
            <ac:picMk id="148" creationId="{15977355-D39E-D0D4-71BC-9E5E98385924}"/>
          </ac:picMkLst>
        </pc:picChg>
        <pc:picChg chg="mod ord">
          <ac:chgData name="Bilen, Ali (WBK)" userId="989ddebd-c318-4b9f-822f-357678c6b1a4" providerId="ADAL" clId="{D5D624E0-F16E-48BD-81EC-613E585E3D4E}" dt="2025-12-03T16:32:22.464" v="1090"/>
          <ac:picMkLst>
            <pc:docMk/>
            <pc:sldMk cId="2611591563" sldId="266"/>
            <ac:picMk id="149" creationId="{1566FFCF-8CDD-4D85-38F4-A7030F450ECE}"/>
          </ac:picMkLst>
        </pc:picChg>
        <pc:picChg chg="mod ord">
          <ac:chgData name="Bilen, Ali (WBK)" userId="989ddebd-c318-4b9f-822f-357678c6b1a4" providerId="ADAL" clId="{D5D624E0-F16E-48BD-81EC-613E585E3D4E}" dt="2025-12-03T16:32:22.453" v="1034"/>
          <ac:picMkLst>
            <pc:docMk/>
            <pc:sldMk cId="2611591563" sldId="266"/>
            <ac:picMk id="154" creationId="{7D27479E-5019-9925-79D7-C091C2197EC4}"/>
          </ac:picMkLst>
        </pc:picChg>
        <pc:picChg chg="mod ord">
          <ac:chgData name="Bilen, Ali (WBK)" userId="989ddebd-c318-4b9f-822f-357678c6b1a4" providerId="ADAL" clId="{D5D624E0-F16E-48BD-81EC-613E585E3D4E}" dt="2025-12-03T16:32:22.446" v="988"/>
          <ac:picMkLst>
            <pc:docMk/>
            <pc:sldMk cId="2611591563" sldId="266"/>
            <ac:picMk id="287" creationId="{13189841-542E-2A17-C396-B9B9EBA5204E}"/>
          </ac:picMkLst>
        </pc:picChg>
        <pc:cxnChg chg="mod ord">
          <ac:chgData name="Bilen, Ali (WBK)" userId="989ddebd-c318-4b9f-822f-357678c6b1a4" providerId="ADAL" clId="{D5D624E0-F16E-48BD-81EC-613E585E3D4E}" dt="2025-12-03T16:32:22.449" v="1004"/>
          <ac:cxnSpMkLst>
            <pc:docMk/>
            <pc:sldMk cId="2611591563" sldId="266"/>
            <ac:cxnSpMk id="50" creationId="{5B910645-AE71-CA19-3014-2F5E1A481D52}"/>
          </ac:cxnSpMkLst>
        </pc:cxnChg>
        <pc:cxnChg chg="mod ord">
          <ac:chgData name="Bilen, Ali (WBK)" userId="989ddebd-c318-4b9f-822f-357678c6b1a4" providerId="ADAL" clId="{D5D624E0-F16E-48BD-81EC-613E585E3D4E}" dt="2025-12-03T16:32:22.449" v="1006"/>
          <ac:cxnSpMkLst>
            <pc:docMk/>
            <pc:sldMk cId="2611591563" sldId="266"/>
            <ac:cxnSpMk id="52" creationId="{3C3C70C0-5A23-EC04-567B-8522286CEBEC}"/>
          </ac:cxnSpMkLst>
        </pc:cxnChg>
        <pc:cxnChg chg="mod ord">
          <ac:chgData name="Bilen, Ali (WBK)" userId="989ddebd-c318-4b9f-822f-357678c6b1a4" providerId="ADAL" clId="{D5D624E0-F16E-48BD-81EC-613E585E3D4E}" dt="2025-12-03T16:32:22.449" v="1008"/>
          <ac:cxnSpMkLst>
            <pc:docMk/>
            <pc:sldMk cId="2611591563" sldId="266"/>
            <ac:cxnSpMk id="55" creationId="{ED996977-4795-5DE0-7F45-CD9FEB0DCB87}"/>
          </ac:cxnSpMkLst>
        </pc:cxnChg>
        <pc:cxnChg chg="mod ord">
          <ac:chgData name="Bilen, Ali (WBK)" userId="989ddebd-c318-4b9f-822f-357678c6b1a4" providerId="ADAL" clId="{D5D624E0-F16E-48BD-81EC-613E585E3D4E}" dt="2025-12-03T16:32:22.450" v="1010"/>
          <ac:cxnSpMkLst>
            <pc:docMk/>
            <pc:sldMk cId="2611591563" sldId="266"/>
            <ac:cxnSpMk id="56" creationId="{7616E420-601A-2CC1-82BF-B7F9E5F4814A}"/>
          </ac:cxnSpMkLst>
        </pc:cxnChg>
        <pc:cxnChg chg="mod">
          <ac:chgData name="Bilen, Ali (WBK)" userId="989ddebd-c318-4b9f-822f-357678c6b1a4" providerId="ADAL" clId="{D5D624E0-F16E-48BD-81EC-613E585E3D4E}" dt="2025-12-03T16:25:43.245" v="253" actId="1582"/>
          <ac:cxnSpMkLst>
            <pc:docMk/>
            <pc:sldMk cId="2611591563" sldId="266"/>
            <ac:cxnSpMk id="133" creationId="{66CEF382-05E2-50C7-8459-75A52E4FCE04}"/>
          </ac:cxnSpMkLst>
        </pc:cxnChg>
        <pc:cxnChg chg="mod">
          <ac:chgData name="Bilen, Ali (WBK)" userId="989ddebd-c318-4b9f-822f-357678c6b1a4" providerId="ADAL" clId="{D5D624E0-F16E-48BD-81EC-613E585E3D4E}" dt="2025-12-03T16:25:43.245" v="252" actId="1582"/>
          <ac:cxnSpMkLst>
            <pc:docMk/>
            <pc:sldMk cId="2611591563" sldId="266"/>
            <ac:cxnSpMk id="141" creationId="{E4EFF2C5-49C5-D90D-2CFB-5B38E8C7E0B5}"/>
          </ac:cxnSpMkLst>
        </pc:cxnChg>
        <pc:cxnChg chg="mod ord">
          <ac:chgData name="Bilen, Ali (WBK)" userId="989ddebd-c318-4b9f-822f-357678c6b1a4" providerId="ADAL" clId="{D5D624E0-F16E-48BD-81EC-613E585E3D4E}" dt="2025-12-03T16:32:22.454" v="1040"/>
          <ac:cxnSpMkLst>
            <pc:docMk/>
            <pc:sldMk cId="2611591563" sldId="266"/>
            <ac:cxnSpMk id="162" creationId="{5B733269-BD31-FAFC-5B59-CC915336828B}"/>
          </ac:cxnSpMkLst>
        </pc:cxnChg>
      </pc:sldChg>
    </pc:docChg>
  </pc:docChgLst>
  <pc:docChgLst>
    <pc:chgData name="Patrick Jaenecke" userId="ba5df79b-7d0b-4e95-94d3-6ae7cd1bbe3d" providerId="ADAL" clId="{DC65C44D-198F-4C87-9C89-11AF910B9431}"/>
    <pc:docChg chg="undo custSel addSld modSld sldOrd">
      <pc:chgData name="Patrick Jaenecke" userId="ba5df79b-7d0b-4e95-94d3-6ae7cd1bbe3d" providerId="ADAL" clId="{DC65C44D-198F-4C87-9C89-11AF910B9431}" dt="2025-12-03T15:32:47.972" v="3818" actId="729"/>
      <pc:docMkLst>
        <pc:docMk/>
      </pc:docMkLst>
      <pc:sldChg chg="mod modShow">
        <pc:chgData name="Patrick Jaenecke" userId="ba5df79b-7d0b-4e95-94d3-6ae7cd1bbe3d" providerId="ADAL" clId="{DC65C44D-198F-4C87-9C89-11AF910B9431}" dt="2025-11-11T07:44:56.574" v="599" actId="729"/>
        <pc:sldMkLst>
          <pc:docMk/>
          <pc:sldMk cId="4020169674" sldId="261"/>
        </pc:sldMkLst>
      </pc:sldChg>
      <pc:sldChg chg="addSp delSp modSp mod ord modShow">
        <pc:chgData name="Patrick Jaenecke" userId="ba5df79b-7d0b-4e95-94d3-6ae7cd1bbe3d" providerId="ADAL" clId="{DC65C44D-198F-4C87-9C89-11AF910B9431}" dt="2025-11-10T09:36:04.934" v="266"/>
        <pc:sldMkLst>
          <pc:docMk/>
          <pc:sldMk cId="311920463" sldId="262"/>
        </pc:sldMkLst>
        <pc:spChg chg="add del mod">
          <ac:chgData name="Patrick Jaenecke" userId="ba5df79b-7d0b-4e95-94d3-6ae7cd1bbe3d" providerId="ADAL" clId="{DC65C44D-198F-4C87-9C89-11AF910B9431}" dt="2025-11-10T09:35:44.016" v="261" actId="478"/>
          <ac:spMkLst>
            <pc:docMk/>
            <pc:sldMk cId="311920463" sldId="262"/>
            <ac:spMk id="24" creationId="{E44055C8-8095-C4B3-2B09-563A2AE01D09}"/>
          </ac:spMkLst>
        </pc:spChg>
        <pc:spChg chg="mod">
          <ac:chgData name="Patrick Jaenecke" userId="ba5df79b-7d0b-4e95-94d3-6ae7cd1bbe3d" providerId="ADAL" clId="{DC65C44D-198F-4C87-9C89-11AF910B9431}" dt="2025-11-10T09:32:59.137" v="226" actId="14100"/>
          <ac:spMkLst>
            <pc:docMk/>
            <pc:sldMk cId="311920463" sldId="262"/>
            <ac:spMk id="177" creationId="{85612225-227A-88CB-B2E0-F450C0500A8E}"/>
          </ac:spMkLst>
        </pc:spChg>
        <pc:spChg chg="mod">
          <ac:chgData name="Patrick Jaenecke" userId="ba5df79b-7d0b-4e95-94d3-6ae7cd1bbe3d" providerId="ADAL" clId="{DC65C44D-198F-4C87-9C89-11AF910B9431}" dt="2025-11-10T07:31:23.392" v="0" actId="403"/>
          <ac:spMkLst>
            <pc:docMk/>
            <pc:sldMk cId="311920463" sldId="262"/>
            <ac:spMk id="260" creationId="{7BBAC723-18BB-FE34-0F97-5C5ACED010E4}"/>
          </ac:spMkLst>
        </pc:spChg>
        <pc:spChg chg="mod">
          <ac:chgData name="Patrick Jaenecke" userId="ba5df79b-7d0b-4e95-94d3-6ae7cd1bbe3d" providerId="ADAL" clId="{DC65C44D-198F-4C87-9C89-11AF910B9431}" dt="2025-11-10T07:31:26.213" v="1" actId="403"/>
          <ac:spMkLst>
            <pc:docMk/>
            <pc:sldMk cId="311920463" sldId="262"/>
            <ac:spMk id="261" creationId="{E567D064-A203-3DFD-732D-89C8D1F90C3B}"/>
          </ac:spMkLst>
        </pc:spChg>
      </pc:sldChg>
      <pc:sldChg chg="mod modShow">
        <pc:chgData name="Patrick Jaenecke" userId="ba5df79b-7d0b-4e95-94d3-6ae7cd1bbe3d" providerId="ADAL" clId="{DC65C44D-198F-4C87-9C89-11AF910B9431}" dt="2025-11-11T07:44:51.976" v="598" actId="729"/>
        <pc:sldMkLst>
          <pc:docMk/>
          <pc:sldMk cId="2249927363" sldId="263"/>
        </pc:sldMkLst>
      </pc:sldChg>
      <pc:sldChg chg="addSp delSp modSp add mod modShow">
        <pc:chgData name="Patrick Jaenecke" userId="ba5df79b-7d0b-4e95-94d3-6ae7cd1bbe3d" providerId="ADAL" clId="{DC65C44D-198F-4C87-9C89-11AF910B9431}" dt="2025-11-30T12:22:28.376" v="613" actId="729"/>
        <pc:sldMkLst>
          <pc:docMk/>
          <pc:sldMk cId="176520361" sldId="264"/>
        </pc:sldMkLst>
        <pc:spChg chg="mod">
          <ac:chgData name="Patrick Jaenecke" userId="ba5df79b-7d0b-4e95-94d3-6ae7cd1bbe3d" providerId="ADAL" clId="{DC65C44D-198F-4C87-9C89-11AF910B9431}" dt="2025-11-11T07:05:22.003" v="596" actId="1076"/>
          <ac:spMkLst>
            <pc:docMk/>
            <pc:sldMk cId="176520361" sldId="264"/>
            <ac:spMk id="3" creationId="{A0EB1BDE-35FE-3CB6-04B8-B78F29E6CBDD}"/>
          </ac:spMkLst>
        </pc:spChg>
        <pc:spChg chg="mod">
          <ac:chgData name="Patrick Jaenecke" userId="ba5df79b-7d0b-4e95-94d3-6ae7cd1bbe3d" providerId="ADAL" clId="{DC65C44D-198F-4C87-9C89-11AF910B9431}" dt="2025-11-10T09:52:53.972" v="557" actId="1037"/>
          <ac:spMkLst>
            <pc:docMk/>
            <pc:sldMk cId="176520361" sldId="264"/>
            <ac:spMk id="15" creationId="{0BEF0E42-A10D-5578-2581-581F66FF4E1B}"/>
          </ac:spMkLst>
        </pc:spChg>
        <pc:spChg chg="mod">
          <ac:chgData name="Patrick Jaenecke" userId="ba5df79b-7d0b-4e95-94d3-6ae7cd1bbe3d" providerId="ADAL" clId="{DC65C44D-198F-4C87-9C89-11AF910B9431}" dt="2025-11-10T09:47:12.137" v="411" actId="14100"/>
          <ac:spMkLst>
            <pc:docMk/>
            <pc:sldMk cId="176520361" sldId="264"/>
            <ac:spMk id="17" creationId="{42D4F968-0719-25D3-5288-87F886E1C63A}"/>
          </ac:spMkLst>
        </pc:spChg>
        <pc:spChg chg="mod">
          <ac:chgData name="Patrick Jaenecke" userId="ba5df79b-7d0b-4e95-94d3-6ae7cd1bbe3d" providerId="ADAL" clId="{DC65C44D-198F-4C87-9C89-11AF910B9431}" dt="2025-11-10T09:52:47.183" v="535" actId="1037"/>
          <ac:spMkLst>
            <pc:docMk/>
            <pc:sldMk cId="176520361" sldId="264"/>
            <ac:spMk id="20" creationId="{81EA4423-5E21-4CDA-E00F-E10AD1B421F1}"/>
          </ac:spMkLst>
        </pc:spChg>
        <pc:spChg chg="mod">
          <ac:chgData name="Patrick Jaenecke" userId="ba5df79b-7d0b-4e95-94d3-6ae7cd1bbe3d" providerId="ADAL" clId="{DC65C44D-198F-4C87-9C89-11AF910B9431}" dt="2025-11-11T07:05:25.919" v="597" actId="1076"/>
          <ac:spMkLst>
            <pc:docMk/>
            <pc:sldMk cId="176520361" sldId="264"/>
            <ac:spMk id="23" creationId="{16AEB445-2DAD-BB32-C518-1B8E7876FFC5}"/>
          </ac:spMkLst>
        </pc:spChg>
        <pc:spChg chg="mod">
          <ac:chgData name="Patrick Jaenecke" userId="ba5df79b-7d0b-4e95-94d3-6ae7cd1bbe3d" providerId="ADAL" clId="{DC65C44D-198F-4C87-9C89-11AF910B9431}" dt="2025-11-10T09:52:40.074" v="521" actId="1076"/>
          <ac:spMkLst>
            <pc:docMk/>
            <pc:sldMk cId="176520361" sldId="264"/>
            <ac:spMk id="27" creationId="{E799BF36-D131-F3DB-E4A2-D8B6DB0A65BA}"/>
          </ac:spMkLst>
        </pc:spChg>
        <pc:spChg chg="mod">
          <ac:chgData name="Patrick Jaenecke" userId="ba5df79b-7d0b-4e95-94d3-6ae7cd1bbe3d" providerId="ADAL" clId="{DC65C44D-198F-4C87-9C89-11AF910B9431}" dt="2025-11-10T09:52:26.882" v="518" actId="208"/>
          <ac:spMkLst>
            <pc:docMk/>
            <pc:sldMk cId="176520361" sldId="264"/>
            <ac:spMk id="30" creationId="{731E8C99-5889-8BA3-B850-1D4DE9C6F463}"/>
          </ac:spMkLst>
        </pc:spChg>
        <pc:spChg chg="mod">
          <ac:chgData name="Patrick Jaenecke" userId="ba5df79b-7d0b-4e95-94d3-6ae7cd1bbe3d" providerId="ADAL" clId="{DC65C44D-198F-4C87-9C89-11AF910B9431}" dt="2025-11-10T09:47:17.647" v="412" actId="14100"/>
          <ac:spMkLst>
            <pc:docMk/>
            <pc:sldMk cId="176520361" sldId="264"/>
            <ac:spMk id="31" creationId="{58A900BF-1D93-34BD-E65E-8AB57C1DC741}"/>
          </ac:spMkLst>
        </pc:spChg>
        <pc:spChg chg="mod">
          <ac:chgData name="Patrick Jaenecke" userId="ba5df79b-7d0b-4e95-94d3-6ae7cd1bbe3d" providerId="ADAL" clId="{DC65C44D-198F-4C87-9C89-11AF910B9431}" dt="2025-11-10T09:52:30.244" v="520" actId="208"/>
          <ac:spMkLst>
            <pc:docMk/>
            <pc:sldMk cId="176520361" sldId="264"/>
            <ac:spMk id="33" creationId="{B438AF05-E310-553E-B2BF-EA083FE09D40}"/>
          </ac:spMkLst>
        </pc:spChg>
        <pc:spChg chg="mod">
          <ac:chgData name="Patrick Jaenecke" userId="ba5df79b-7d0b-4e95-94d3-6ae7cd1bbe3d" providerId="ADAL" clId="{DC65C44D-198F-4C87-9C89-11AF910B9431}" dt="2025-11-10T09:52:00.219" v="512"/>
          <ac:spMkLst>
            <pc:docMk/>
            <pc:sldMk cId="176520361" sldId="264"/>
            <ac:spMk id="35" creationId="{10423925-EB47-D763-BD6E-59725DB1D7CD}"/>
          </ac:spMkLst>
        </pc:spChg>
        <pc:spChg chg="mod">
          <ac:chgData name="Patrick Jaenecke" userId="ba5df79b-7d0b-4e95-94d3-6ae7cd1bbe3d" providerId="ADAL" clId="{DC65C44D-198F-4C87-9C89-11AF910B9431}" dt="2025-11-10T09:49:54.092" v="469" actId="1035"/>
          <ac:spMkLst>
            <pc:docMk/>
            <pc:sldMk cId="176520361" sldId="264"/>
            <ac:spMk id="38" creationId="{45FF9B97-824A-9E0D-B23A-8AE4BB6C5071}"/>
          </ac:spMkLst>
        </pc:spChg>
        <pc:spChg chg="mod">
          <ac:chgData name="Patrick Jaenecke" userId="ba5df79b-7d0b-4e95-94d3-6ae7cd1bbe3d" providerId="ADAL" clId="{DC65C44D-198F-4C87-9C89-11AF910B9431}" dt="2025-11-10T09:45:14.215" v="383" actId="1076"/>
          <ac:spMkLst>
            <pc:docMk/>
            <pc:sldMk cId="176520361" sldId="264"/>
            <ac:spMk id="44" creationId="{C611CFE0-7FE5-C3C4-5403-2234A3F40FCA}"/>
          </ac:spMkLst>
        </pc:spChg>
        <pc:spChg chg="mod">
          <ac:chgData name="Patrick Jaenecke" userId="ba5df79b-7d0b-4e95-94d3-6ae7cd1bbe3d" providerId="ADAL" clId="{DC65C44D-198F-4C87-9C89-11AF910B9431}" dt="2025-11-10T09:53:59.744" v="575" actId="1076"/>
          <ac:spMkLst>
            <pc:docMk/>
            <pc:sldMk cId="176520361" sldId="264"/>
            <ac:spMk id="46" creationId="{6C73894C-4843-51C7-0F84-AEDE24140395}"/>
          </ac:spMkLst>
        </pc:spChg>
        <pc:spChg chg="mod">
          <ac:chgData name="Patrick Jaenecke" userId="ba5df79b-7d0b-4e95-94d3-6ae7cd1bbe3d" providerId="ADAL" clId="{DC65C44D-198F-4C87-9C89-11AF910B9431}" dt="2025-11-10T09:47:20.655" v="413" actId="14100"/>
          <ac:spMkLst>
            <pc:docMk/>
            <pc:sldMk cId="176520361" sldId="264"/>
            <ac:spMk id="47" creationId="{DDB64818-84FA-4B33-2DF0-7EC544C51D13}"/>
          </ac:spMkLst>
        </pc:spChg>
        <pc:spChg chg="mod">
          <ac:chgData name="Patrick Jaenecke" userId="ba5df79b-7d0b-4e95-94d3-6ae7cd1bbe3d" providerId="ADAL" clId="{DC65C44D-198F-4C87-9C89-11AF910B9431}" dt="2025-11-10T09:44:14.811" v="365" actId="1076"/>
          <ac:spMkLst>
            <pc:docMk/>
            <pc:sldMk cId="176520361" sldId="264"/>
            <ac:spMk id="48" creationId="{0FECCFAC-99A6-764F-08D7-2E3FD39CD983}"/>
          </ac:spMkLst>
        </pc:spChg>
        <pc:spChg chg="mod">
          <ac:chgData name="Patrick Jaenecke" userId="ba5df79b-7d0b-4e95-94d3-6ae7cd1bbe3d" providerId="ADAL" clId="{DC65C44D-198F-4C87-9C89-11AF910B9431}" dt="2025-11-10T09:45:58.767" v="395" actId="1076"/>
          <ac:spMkLst>
            <pc:docMk/>
            <pc:sldMk cId="176520361" sldId="264"/>
            <ac:spMk id="51" creationId="{674039D1-7AEA-C5A2-77C3-8913F9180C55}"/>
          </ac:spMkLst>
        </pc:spChg>
        <pc:spChg chg="mod">
          <ac:chgData name="Patrick Jaenecke" userId="ba5df79b-7d0b-4e95-94d3-6ae7cd1bbe3d" providerId="ADAL" clId="{DC65C44D-198F-4C87-9C89-11AF910B9431}" dt="2025-11-10T09:53:15.877" v="565" actId="1076"/>
          <ac:spMkLst>
            <pc:docMk/>
            <pc:sldMk cId="176520361" sldId="264"/>
            <ac:spMk id="64" creationId="{09CD9481-CF84-090D-87C1-D93A8A4AA23A}"/>
          </ac:spMkLst>
        </pc:spChg>
        <pc:spChg chg="mod">
          <ac:chgData name="Patrick Jaenecke" userId="ba5df79b-7d0b-4e95-94d3-6ae7cd1bbe3d" providerId="ADAL" clId="{DC65C44D-198F-4C87-9C89-11AF910B9431}" dt="2025-11-10T09:49:43.901" v="453" actId="1035"/>
          <ac:spMkLst>
            <pc:docMk/>
            <pc:sldMk cId="176520361" sldId="264"/>
            <ac:spMk id="65" creationId="{546732BC-90C0-2E5E-8688-8F287A9DE026}"/>
          </ac:spMkLst>
        </pc:spChg>
        <pc:spChg chg="mod">
          <ac:chgData name="Patrick Jaenecke" userId="ba5df79b-7d0b-4e95-94d3-6ae7cd1bbe3d" providerId="ADAL" clId="{DC65C44D-198F-4C87-9C89-11AF910B9431}" dt="2025-11-10T09:24:49.599" v="89" actId="255"/>
          <ac:spMkLst>
            <pc:docMk/>
            <pc:sldMk cId="176520361" sldId="264"/>
            <ac:spMk id="75" creationId="{328F9269-B129-65B8-EA49-1E8D1E83EFCF}"/>
          </ac:spMkLst>
        </pc:spChg>
        <pc:spChg chg="mod">
          <ac:chgData name="Patrick Jaenecke" userId="ba5df79b-7d0b-4e95-94d3-6ae7cd1bbe3d" providerId="ADAL" clId="{DC65C44D-198F-4C87-9C89-11AF910B9431}" dt="2025-11-10T09:49:40.882" v="449" actId="1035"/>
          <ac:spMkLst>
            <pc:docMk/>
            <pc:sldMk cId="176520361" sldId="264"/>
            <ac:spMk id="76" creationId="{A5CB9E5A-95B7-3A8F-99EB-EF6965F93500}"/>
          </ac:spMkLst>
        </pc:spChg>
        <pc:spChg chg="mod">
          <ac:chgData name="Patrick Jaenecke" userId="ba5df79b-7d0b-4e95-94d3-6ae7cd1bbe3d" providerId="ADAL" clId="{DC65C44D-198F-4C87-9C89-11AF910B9431}" dt="2025-11-10T09:24:45.960" v="88" actId="255"/>
          <ac:spMkLst>
            <pc:docMk/>
            <pc:sldMk cId="176520361" sldId="264"/>
            <ac:spMk id="77" creationId="{0F84F5FD-CCB9-2641-4854-AF80590FDC6A}"/>
          </ac:spMkLst>
        </pc:spChg>
        <pc:spChg chg="mod">
          <ac:chgData name="Patrick Jaenecke" userId="ba5df79b-7d0b-4e95-94d3-6ae7cd1bbe3d" providerId="ADAL" clId="{DC65C44D-198F-4C87-9C89-11AF910B9431}" dt="2025-11-10T09:24:59.811" v="99" actId="403"/>
          <ac:spMkLst>
            <pc:docMk/>
            <pc:sldMk cId="176520361" sldId="264"/>
            <ac:spMk id="78" creationId="{1B1B069C-E063-FC74-2F16-E36687357CCA}"/>
          </ac:spMkLst>
        </pc:spChg>
        <pc:spChg chg="mod">
          <ac:chgData name="Patrick Jaenecke" userId="ba5df79b-7d0b-4e95-94d3-6ae7cd1bbe3d" providerId="ADAL" clId="{DC65C44D-198F-4C87-9C89-11AF910B9431}" dt="2025-11-10T09:25:03.348" v="105" actId="403"/>
          <ac:spMkLst>
            <pc:docMk/>
            <pc:sldMk cId="176520361" sldId="264"/>
            <ac:spMk id="79" creationId="{50E19205-AE44-C9E2-A15E-4C04E9714F41}"/>
          </ac:spMkLst>
        </pc:spChg>
        <pc:spChg chg="mod">
          <ac:chgData name="Patrick Jaenecke" userId="ba5df79b-7d0b-4e95-94d3-6ae7cd1bbe3d" providerId="ADAL" clId="{DC65C44D-198F-4C87-9C89-11AF910B9431}" dt="2025-11-10T09:52:00.219" v="512"/>
          <ac:spMkLst>
            <pc:docMk/>
            <pc:sldMk cId="176520361" sldId="264"/>
            <ac:spMk id="83" creationId="{D68FC2F2-FB03-630E-6B64-9275D584B858}"/>
          </ac:spMkLst>
        </pc:spChg>
        <pc:spChg chg="mod">
          <ac:chgData name="Patrick Jaenecke" userId="ba5df79b-7d0b-4e95-94d3-6ae7cd1bbe3d" providerId="ADAL" clId="{DC65C44D-198F-4C87-9C89-11AF910B9431}" dt="2025-11-10T09:53:47.919" v="571" actId="14100"/>
          <ac:spMkLst>
            <pc:docMk/>
            <pc:sldMk cId="176520361" sldId="264"/>
            <ac:spMk id="84" creationId="{B64221C8-EA02-F2B3-2062-6DB18D70B11C}"/>
          </ac:spMkLst>
        </pc:spChg>
        <pc:spChg chg="mod">
          <ac:chgData name="Patrick Jaenecke" userId="ba5df79b-7d0b-4e95-94d3-6ae7cd1bbe3d" providerId="ADAL" clId="{DC65C44D-198F-4C87-9C89-11AF910B9431}" dt="2025-11-10T09:53:05.344" v="560" actId="1076"/>
          <ac:spMkLst>
            <pc:docMk/>
            <pc:sldMk cId="176520361" sldId="264"/>
            <ac:spMk id="101" creationId="{D76DB2D7-2B09-E4B8-B332-4AB110B8E1CE}"/>
          </ac:spMkLst>
        </pc:spChg>
        <pc:spChg chg="mod">
          <ac:chgData name="Patrick Jaenecke" userId="ba5df79b-7d0b-4e95-94d3-6ae7cd1bbe3d" providerId="ADAL" clId="{DC65C44D-198F-4C87-9C89-11AF910B9431}" dt="2025-11-10T09:22:40.822" v="50" actId="1076"/>
          <ac:spMkLst>
            <pc:docMk/>
            <pc:sldMk cId="176520361" sldId="264"/>
            <ac:spMk id="121" creationId="{58242218-BEA0-025B-2D64-D9C6D68D43E5}"/>
          </ac:spMkLst>
        </pc:spChg>
        <pc:spChg chg="mod">
          <ac:chgData name="Patrick Jaenecke" userId="ba5df79b-7d0b-4e95-94d3-6ae7cd1bbe3d" providerId="ADAL" clId="{DC65C44D-198F-4C87-9C89-11AF910B9431}" dt="2025-11-10T09:22:45.967" v="51" actId="1076"/>
          <ac:spMkLst>
            <pc:docMk/>
            <pc:sldMk cId="176520361" sldId="264"/>
            <ac:spMk id="122" creationId="{D6A6C209-2A92-9109-0389-99D02DE1FAA5}"/>
          </ac:spMkLst>
        </pc:spChg>
        <pc:spChg chg="mod topLvl">
          <ac:chgData name="Patrick Jaenecke" userId="ba5df79b-7d0b-4e95-94d3-6ae7cd1bbe3d" providerId="ADAL" clId="{DC65C44D-198F-4C87-9C89-11AF910B9431}" dt="2025-11-10T09:27:35.062" v="144" actId="14100"/>
          <ac:spMkLst>
            <pc:docMk/>
            <pc:sldMk cId="176520361" sldId="264"/>
            <ac:spMk id="127" creationId="{03CD48A1-3FC3-5DCC-D923-E5CB3E228571}"/>
          </ac:spMkLst>
        </pc:spChg>
        <pc:spChg chg="mod">
          <ac:chgData name="Patrick Jaenecke" userId="ba5df79b-7d0b-4e95-94d3-6ae7cd1bbe3d" providerId="ADAL" clId="{DC65C44D-198F-4C87-9C89-11AF910B9431}" dt="2025-11-10T09:21:38.135" v="33" actId="1076"/>
          <ac:spMkLst>
            <pc:docMk/>
            <pc:sldMk cId="176520361" sldId="264"/>
            <ac:spMk id="132" creationId="{A3EF9382-261E-EFEB-8996-C496110FB91F}"/>
          </ac:spMkLst>
        </pc:spChg>
        <pc:spChg chg="mod">
          <ac:chgData name="Patrick Jaenecke" userId="ba5df79b-7d0b-4e95-94d3-6ae7cd1bbe3d" providerId="ADAL" clId="{DC65C44D-198F-4C87-9C89-11AF910B9431}" dt="2025-11-10T09:21:41.194" v="34" actId="1076"/>
          <ac:spMkLst>
            <pc:docMk/>
            <pc:sldMk cId="176520361" sldId="264"/>
            <ac:spMk id="133" creationId="{B82F9DF4-2FF4-B3B2-BCD8-DD06A1510E6F}"/>
          </ac:spMkLst>
        </pc:spChg>
        <pc:spChg chg="mod">
          <ac:chgData name="Patrick Jaenecke" userId="ba5df79b-7d0b-4e95-94d3-6ae7cd1bbe3d" providerId="ADAL" clId="{DC65C44D-198F-4C87-9C89-11AF910B9431}" dt="2025-11-10T09:21:04.073" v="26" actId="404"/>
          <ac:spMkLst>
            <pc:docMk/>
            <pc:sldMk cId="176520361" sldId="264"/>
            <ac:spMk id="140" creationId="{E4E65577-9443-05B4-7509-AB77EBCCD19F}"/>
          </ac:spMkLst>
        </pc:spChg>
        <pc:spChg chg="add mod">
          <ac:chgData name="Patrick Jaenecke" userId="ba5df79b-7d0b-4e95-94d3-6ae7cd1bbe3d" providerId="ADAL" clId="{DC65C44D-198F-4C87-9C89-11AF910B9431}" dt="2025-11-10T09:43:53.039" v="359" actId="403"/>
          <ac:spMkLst>
            <pc:docMk/>
            <pc:sldMk cId="176520361" sldId="264"/>
            <ac:spMk id="150" creationId="{625BBFA7-0DB1-E32F-7352-5E977625004F}"/>
          </ac:spMkLst>
        </pc:spChg>
        <pc:spChg chg="mod">
          <ac:chgData name="Patrick Jaenecke" userId="ba5df79b-7d0b-4e95-94d3-6ae7cd1bbe3d" providerId="ADAL" clId="{DC65C44D-198F-4C87-9C89-11AF910B9431}" dt="2025-11-10T09:46:17.745" v="402" actId="14100"/>
          <ac:spMkLst>
            <pc:docMk/>
            <pc:sldMk cId="176520361" sldId="264"/>
            <ac:spMk id="153" creationId="{6158B45A-F1DA-FCC6-8704-2E4B3726F62B}"/>
          </ac:spMkLst>
        </pc:spChg>
        <pc:spChg chg="add mod">
          <ac:chgData name="Patrick Jaenecke" userId="ba5df79b-7d0b-4e95-94d3-6ae7cd1bbe3d" providerId="ADAL" clId="{DC65C44D-198F-4C87-9C89-11AF910B9431}" dt="2025-11-10T09:45:32.865" v="388" actId="14100"/>
          <ac:spMkLst>
            <pc:docMk/>
            <pc:sldMk cId="176520361" sldId="264"/>
            <ac:spMk id="155" creationId="{09A2FF80-7FCA-8E55-2E40-B73FB0DF7C38}"/>
          </ac:spMkLst>
        </pc:spChg>
        <pc:spChg chg="add mod">
          <ac:chgData name="Patrick Jaenecke" userId="ba5df79b-7d0b-4e95-94d3-6ae7cd1bbe3d" providerId="ADAL" clId="{DC65C44D-198F-4C87-9C89-11AF910B9431}" dt="2025-11-10T09:45:43.179" v="390" actId="14100"/>
          <ac:spMkLst>
            <pc:docMk/>
            <pc:sldMk cId="176520361" sldId="264"/>
            <ac:spMk id="157" creationId="{875EC2BE-FD5D-C5E8-94FD-7A7EBC984578}"/>
          </ac:spMkLst>
        </pc:spChg>
        <pc:spChg chg="mod">
          <ac:chgData name="Patrick Jaenecke" userId="ba5df79b-7d0b-4e95-94d3-6ae7cd1bbe3d" providerId="ADAL" clId="{DC65C44D-198F-4C87-9C89-11AF910B9431}" dt="2025-11-10T10:20:39.055" v="592" actId="14100"/>
          <ac:spMkLst>
            <pc:docMk/>
            <pc:sldMk cId="176520361" sldId="264"/>
            <ac:spMk id="166" creationId="{AF16D922-4800-CC78-D549-ABDCCA590EBF}"/>
          </ac:spMkLst>
        </pc:spChg>
        <pc:spChg chg="mod">
          <ac:chgData name="Patrick Jaenecke" userId="ba5df79b-7d0b-4e95-94d3-6ae7cd1bbe3d" providerId="ADAL" clId="{DC65C44D-198F-4C87-9C89-11AF910B9431}" dt="2025-11-10T09:52:11.375" v="515" actId="403"/>
          <ac:spMkLst>
            <pc:docMk/>
            <pc:sldMk cId="176520361" sldId="264"/>
            <ac:spMk id="177" creationId="{382D2F4D-FA3E-7C59-F8BA-FFC196365225}"/>
          </ac:spMkLst>
        </pc:spChg>
        <pc:spChg chg="mod ord">
          <ac:chgData name="Patrick Jaenecke" userId="ba5df79b-7d0b-4e95-94d3-6ae7cd1bbe3d" providerId="ADAL" clId="{DC65C44D-198F-4C87-9C89-11AF910B9431}" dt="2025-11-10T09:51:29.119" v="500" actId="14100"/>
          <ac:spMkLst>
            <pc:docMk/>
            <pc:sldMk cId="176520361" sldId="264"/>
            <ac:spMk id="181" creationId="{32BBC927-D58C-AEC0-5892-FDA5EFD9A23B}"/>
          </ac:spMkLst>
        </pc:spChg>
        <pc:spChg chg="mod ord">
          <ac:chgData name="Patrick Jaenecke" userId="ba5df79b-7d0b-4e95-94d3-6ae7cd1bbe3d" providerId="ADAL" clId="{DC65C44D-198F-4C87-9C89-11AF910B9431}" dt="2025-11-10T10:20:53.772" v="594" actId="14100"/>
          <ac:spMkLst>
            <pc:docMk/>
            <pc:sldMk cId="176520361" sldId="264"/>
            <ac:spMk id="182" creationId="{87885CAF-42F3-AE73-ADBA-56E08FE65141}"/>
          </ac:spMkLst>
        </pc:spChg>
        <pc:spChg chg="mod">
          <ac:chgData name="Patrick Jaenecke" userId="ba5df79b-7d0b-4e95-94d3-6ae7cd1bbe3d" providerId="ADAL" clId="{DC65C44D-198F-4C87-9C89-11AF910B9431}" dt="2025-11-10T09:27:30.500" v="143" actId="14100"/>
          <ac:spMkLst>
            <pc:docMk/>
            <pc:sldMk cId="176520361" sldId="264"/>
            <ac:spMk id="183" creationId="{03432BB8-6C9F-923D-8375-7F0B11F5949F}"/>
          </ac:spMkLst>
        </pc:spChg>
        <pc:spChg chg="mod">
          <ac:chgData name="Patrick Jaenecke" userId="ba5df79b-7d0b-4e95-94d3-6ae7cd1bbe3d" providerId="ADAL" clId="{DC65C44D-198F-4C87-9C89-11AF910B9431}" dt="2025-11-10T09:35:04.339" v="253" actId="14100"/>
          <ac:spMkLst>
            <pc:docMk/>
            <pc:sldMk cId="176520361" sldId="264"/>
            <ac:spMk id="198" creationId="{3A78B784-F93E-E813-8762-5D47E37A0C80}"/>
          </ac:spMkLst>
        </pc:spChg>
        <pc:spChg chg="mod ord">
          <ac:chgData name="Patrick Jaenecke" userId="ba5df79b-7d0b-4e95-94d3-6ae7cd1bbe3d" providerId="ADAL" clId="{DC65C44D-198F-4C87-9C89-11AF910B9431}" dt="2025-11-10T09:43:55.189" v="360" actId="403"/>
          <ac:spMkLst>
            <pc:docMk/>
            <pc:sldMk cId="176520361" sldId="264"/>
            <ac:spMk id="260" creationId="{596FA277-EE00-5B26-B391-CFEF59F2EA71}"/>
          </ac:spMkLst>
        </pc:spChg>
        <pc:spChg chg="mod">
          <ac:chgData name="Patrick Jaenecke" userId="ba5df79b-7d0b-4e95-94d3-6ae7cd1bbe3d" providerId="ADAL" clId="{DC65C44D-198F-4C87-9C89-11AF910B9431}" dt="2025-11-10T09:42:22.933" v="334" actId="1076"/>
          <ac:spMkLst>
            <pc:docMk/>
            <pc:sldMk cId="176520361" sldId="264"/>
            <ac:spMk id="397" creationId="{F53B7B9C-6B90-A70A-4717-A0FE3E783F4A}"/>
          </ac:spMkLst>
        </pc:spChg>
        <pc:spChg chg="mod">
          <ac:chgData name="Patrick Jaenecke" userId="ba5df79b-7d0b-4e95-94d3-6ae7cd1bbe3d" providerId="ADAL" clId="{DC65C44D-198F-4C87-9C89-11AF910B9431}" dt="2025-11-10T09:42:22.933" v="334" actId="1076"/>
          <ac:spMkLst>
            <pc:docMk/>
            <pc:sldMk cId="176520361" sldId="264"/>
            <ac:spMk id="399" creationId="{43FB8439-D370-306B-4870-D6A691250AB2}"/>
          </ac:spMkLst>
        </pc:spChg>
        <pc:grpChg chg="mod">
          <ac:chgData name="Patrick Jaenecke" userId="ba5df79b-7d0b-4e95-94d3-6ae7cd1bbe3d" providerId="ADAL" clId="{DC65C44D-198F-4C87-9C89-11AF910B9431}" dt="2025-11-10T09:42:22.933" v="334" actId="1076"/>
          <ac:grpSpMkLst>
            <pc:docMk/>
            <pc:sldMk cId="176520361" sldId="264"/>
            <ac:grpSpMk id="72" creationId="{5AA9B63D-3A9E-852E-A22F-7C18EEB1BA8C}"/>
          </ac:grpSpMkLst>
        </pc:grpChg>
        <pc:grpChg chg="mod">
          <ac:chgData name="Patrick Jaenecke" userId="ba5df79b-7d0b-4e95-94d3-6ae7cd1bbe3d" providerId="ADAL" clId="{DC65C44D-198F-4C87-9C89-11AF910B9431}" dt="2025-11-10T09:42:04.177" v="332" actId="1076"/>
          <ac:grpSpMkLst>
            <pc:docMk/>
            <pc:sldMk cId="176520361" sldId="264"/>
            <ac:grpSpMk id="80" creationId="{664A4D5D-6C94-B1A7-E05C-C4FC8E9CB883}"/>
          </ac:grpSpMkLst>
        </pc:grpChg>
        <pc:grpChg chg="mod">
          <ac:chgData name="Patrick Jaenecke" userId="ba5df79b-7d0b-4e95-94d3-6ae7cd1bbe3d" providerId="ADAL" clId="{DC65C44D-198F-4C87-9C89-11AF910B9431}" dt="2025-11-10T09:47:56.694" v="422" actId="1076"/>
          <ac:grpSpMkLst>
            <pc:docMk/>
            <pc:sldMk cId="176520361" sldId="264"/>
            <ac:grpSpMk id="86" creationId="{1FCD7380-F004-AB5C-25EE-A6C13B6CB0CB}"/>
          </ac:grpSpMkLst>
        </pc:grpChg>
        <pc:grpChg chg="add mod">
          <ac:chgData name="Patrick Jaenecke" userId="ba5df79b-7d0b-4e95-94d3-6ae7cd1bbe3d" providerId="ADAL" clId="{DC65C44D-198F-4C87-9C89-11AF910B9431}" dt="2025-11-10T09:46:15.443" v="401" actId="14100"/>
          <ac:grpSpMkLst>
            <pc:docMk/>
            <pc:sldMk cId="176520361" sldId="264"/>
            <ac:grpSpMk id="151" creationId="{0B4CF7CF-7B81-A907-8B11-85D8DB12CCA4}"/>
          </ac:grpSpMkLst>
        </pc:grpChg>
        <pc:grpChg chg="mod">
          <ac:chgData name="Patrick Jaenecke" userId="ba5df79b-7d0b-4e95-94d3-6ae7cd1bbe3d" providerId="ADAL" clId="{DC65C44D-198F-4C87-9C89-11AF910B9431}" dt="2025-11-10T09:38:33.311" v="300" actId="1076"/>
          <ac:grpSpMkLst>
            <pc:docMk/>
            <pc:sldMk cId="176520361" sldId="264"/>
            <ac:grpSpMk id="171" creationId="{29675804-0177-0228-BF8D-02D4071CB71B}"/>
          </ac:grpSpMkLst>
        </pc:grpChg>
        <pc:grpChg chg="mod">
          <ac:chgData name="Patrick Jaenecke" userId="ba5df79b-7d0b-4e95-94d3-6ae7cd1bbe3d" providerId="ADAL" clId="{DC65C44D-198F-4C87-9C89-11AF910B9431}" dt="2025-11-10T09:44:08.008" v="362" actId="1076"/>
          <ac:grpSpMkLst>
            <pc:docMk/>
            <pc:sldMk cId="176520361" sldId="264"/>
            <ac:grpSpMk id="259" creationId="{7C1299C9-260C-9A04-3999-ABB5C52FE87D}"/>
          </ac:grpSpMkLst>
        </pc:grpChg>
        <pc:grpChg chg="mod">
          <ac:chgData name="Patrick Jaenecke" userId="ba5df79b-7d0b-4e95-94d3-6ae7cd1bbe3d" providerId="ADAL" clId="{DC65C44D-198F-4C87-9C89-11AF910B9431}" dt="2025-11-10T09:48:20.887" v="432" actId="1076"/>
          <ac:grpSpMkLst>
            <pc:docMk/>
            <pc:sldMk cId="176520361" sldId="264"/>
            <ac:grpSpMk id="345" creationId="{1E4C2CEC-AA17-D9C6-DD4B-A6CC1B26E4FA}"/>
          </ac:grpSpMkLst>
        </pc:grpChg>
        <pc:graphicFrameChg chg="mod modGraphic">
          <ac:chgData name="Patrick Jaenecke" userId="ba5df79b-7d0b-4e95-94d3-6ae7cd1bbe3d" providerId="ADAL" clId="{DC65C44D-198F-4C87-9C89-11AF910B9431}" dt="2025-11-10T09:48:03.874" v="425" actId="1076"/>
          <ac:graphicFrameMkLst>
            <pc:docMk/>
            <pc:sldMk cId="176520361" sldId="264"/>
            <ac:graphicFrameMk id="191" creationId="{5A0F6967-1A60-5063-5604-182916DF5ED1}"/>
          </ac:graphicFrameMkLst>
        </pc:graphicFrameChg>
        <pc:picChg chg="mod">
          <ac:chgData name="Patrick Jaenecke" userId="ba5df79b-7d0b-4e95-94d3-6ae7cd1bbe3d" providerId="ADAL" clId="{DC65C44D-198F-4C87-9C89-11AF910B9431}" dt="2025-11-10T09:27:40.515" v="146" actId="14100"/>
          <ac:picMkLst>
            <pc:docMk/>
            <pc:sldMk cId="176520361" sldId="264"/>
            <ac:picMk id="2" creationId="{5785B281-1370-3F11-AA7B-08AAE7803359}"/>
          </ac:picMkLst>
        </pc:picChg>
        <pc:picChg chg="mod">
          <ac:chgData name="Patrick Jaenecke" userId="ba5df79b-7d0b-4e95-94d3-6ae7cd1bbe3d" providerId="ADAL" clId="{DC65C44D-198F-4C87-9C89-11AF910B9431}" dt="2025-11-10T09:21:52.214" v="37" actId="1076"/>
          <ac:picMkLst>
            <pc:docMk/>
            <pc:sldMk cId="176520361" sldId="264"/>
            <ac:picMk id="81" creationId="{75096C5C-3B05-999A-A0BF-2151FC9BF429}"/>
          </ac:picMkLst>
        </pc:picChg>
        <pc:picChg chg="mod">
          <ac:chgData name="Patrick Jaenecke" userId="ba5df79b-7d0b-4e95-94d3-6ae7cd1bbe3d" providerId="ADAL" clId="{DC65C44D-198F-4C87-9C89-11AF910B9431}" dt="2025-11-10T09:21:04.073" v="26" actId="404"/>
          <ac:picMkLst>
            <pc:docMk/>
            <pc:sldMk cId="176520361" sldId="264"/>
            <ac:picMk id="82" creationId="{8616D633-EA9E-A18C-F25C-0E38F5757CB4}"/>
          </ac:picMkLst>
        </pc:picChg>
        <pc:picChg chg="mod">
          <ac:chgData name="Patrick Jaenecke" userId="ba5df79b-7d0b-4e95-94d3-6ae7cd1bbe3d" providerId="ADAL" clId="{DC65C44D-198F-4C87-9C89-11AF910B9431}" dt="2025-11-10T09:47:44.091" v="417" actId="1076"/>
          <ac:picMkLst>
            <pc:docMk/>
            <pc:sldMk cId="176520361" sldId="264"/>
            <ac:picMk id="85" creationId="{7E84D11B-743F-845F-5B47-BAADFBD2FB36}"/>
          </ac:picMkLst>
        </pc:picChg>
        <pc:picChg chg="add mod">
          <ac:chgData name="Patrick Jaenecke" userId="ba5df79b-7d0b-4e95-94d3-6ae7cd1bbe3d" providerId="ADAL" clId="{DC65C44D-198F-4C87-9C89-11AF910B9431}" dt="2025-11-10T10:18:48.045" v="580" actId="1076"/>
          <ac:picMkLst>
            <pc:docMk/>
            <pc:sldMk cId="176520361" sldId="264"/>
            <ac:picMk id="141" creationId="{4826E73D-CB40-944F-E55B-41F396F6BB0A}"/>
          </ac:picMkLst>
        </pc:picChg>
        <pc:picChg chg="add mod ord">
          <ac:chgData name="Patrick Jaenecke" userId="ba5df79b-7d0b-4e95-94d3-6ae7cd1bbe3d" providerId="ADAL" clId="{DC65C44D-198F-4C87-9C89-11AF910B9431}" dt="2025-11-10T09:51:39.645" v="503" actId="1076"/>
          <ac:picMkLst>
            <pc:docMk/>
            <pc:sldMk cId="176520361" sldId="264"/>
            <ac:picMk id="142" creationId="{A2EB0457-05A7-75B5-C96A-183E0CA40F0E}"/>
          </ac:picMkLst>
        </pc:picChg>
        <pc:picChg chg="add mod">
          <ac:chgData name="Patrick Jaenecke" userId="ba5df79b-7d0b-4e95-94d3-6ae7cd1bbe3d" providerId="ADAL" clId="{DC65C44D-198F-4C87-9C89-11AF910B9431}" dt="2025-11-10T09:52:09.169" v="514" actId="1076"/>
          <ac:picMkLst>
            <pc:docMk/>
            <pc:sldMk cId="176520361" sldId="264"/>
            <ac:picMk id="143" creationId="{76CD385E-98A5-4ABD-FD71-C44936F63011}"/>
          </ac:picMkLst>
        </pc:picChg>
        <pc:picChg chg="mod topLvl">
          <ac:chgData name="Patrick Jaenecke" userId="ba5df79b-7d0b-4e95-94d3-6ae7cd1bbe3d" providerId="ADAL" clId="{DC65C44D-198F-4C87-9C89-11AF910B9431}" dt="2025-11-10T09:44:12.330" v="364" actId="1076"/>
          <ac:picMkLst>
            <pc:docMk/>
            <pc:sldMk cId="176520361" sldId="264"/>
            <ac:picMk id="148" creationId="{6C587548-A482-7E69-1B99-C49A46229C28}"/>
          </ac:picMkLst>
        </pc:picChg>
        <pc:picChg chg="mod">
          <ac:chgData name="Patrick Jaenecke" userId="ba5df79b-7d0b-4e95-94d3-6ae7cd1bbe3d" providerId="ADAL" clId="{DC65C44D-198F-4C87-9C89-11AF910B9431}" dt="2025-11-10T09:46:04.748" v="397" actId="14100"/>
          <ac:picMkLst>
            <pc:docMk/>
            <pc:sldMk cId="176520361" sldId="264"/>
            <ac:picMk id="152" creationId="{2C28BE04-F735-AEDF-E1B3-43CA796551E8}"/>
          </ac:picMkLst>
        </pc:picChg>
        <pc:picChg chg="add mod">
          <ac:chgData name="Patrick Jaenecke" userId="ba5df79b-7d0b-4e95-94d3-6ae7cd1bbe3d" providerId="ADAL" clId="{DC65C44D-198F-4C87-9C89-11AF910B9431}" dt="2025-11-10T09:45:29.758" v="387" actId="14100"/>
          <ac:picMkLst>
            <pc:docMk/>
            <pc:sldMk cId="176520361" sldId="264"/>
            <ac:picMk id="154" creationId="{1B8B4F44-4410-8245-70F7-EF81F64FBDB6}"/>
          </ac:picMkLst>
        </pc:picChg>
        <pc:picChg chg="add mod">
          <ac:chgData name="Patrick Jaenecke" userId="ba5df79b-7d0b-4e95-94d3-6ae7cd1bbe3d" providerId="ADAL" clId="{DC65C44D-198F-4C87-9C89-11AF910B9431}" dt="2025-11-10T09:45:48.515" v="392" actId="1076"/>
          <ac:picMkLst>
            <pc:docMk/>
            <pc:sldMk cId="176520361" sldId="264"/>
            <ac:picMk id="156" creationId="{05CE9428-7DA2-FC12-89A3-5BB62875E78D}"/>
          </ac:picMkLst>
        </pc:picChg>
        <pc:picChg chg="mod">
          <ac:chgData name="Patrick Jaenecke" userId="ba5df79b-7d0b-4e95-94d3-6ae7cd1bbe3d" providerId="ADAL" clId="{DC65C44D-198F-4C87-9C89-11AF910B9431}" dt="2025-11-10T09:48:20.887" v="432" actId="1076"/>
          <ac:picMkLst>
            <pc:docMk/>
            <pc:sldMk cId="176520361" sldId="264"/>
            <ac:picMk id="343" creationId="{088C1B62-4ACB-9640-481F-924437DBEC54}"/>
          </ac:picMkLst>
        </pc:picChg>
        <pc:picChg chg="mod">
          <ac:chgData name="Patrick Jaenecke" userId="ba5df79b-7d0b-4e95-94d3-6ae7cd1bbe3d" providerId="ADAL" clId="{DC65C44D-198F-4C87-9C89-11AF910B9431}" dt="2025-11-10T09:48:20.887" v="432" actId="1076"/>
          <ac:picMkLst>
            <pc:docMk/>
            <pc:sldMk cId="176520361" sldId="264"/>
            <ac:picMk id="344" creationId="{0701F835-7C86-9624-68DC-1A903074AC1F}"/>
          </ac:picMkLst>
        </pc:picChg>
        <pc:cxnChg chg="mod">
          <ac:chgData name="Patrick Jaenecke" userId="ba5df79b-7d0b-4e95-94d3-6ae7cd1bbe3d" providerId="ADAL" clId="{DC65C44D-198F-4C87-9C89-11AF910B9431}" dt="2025-11-10T09:52:40.074" v="521" actId="1076"/>
          <ac:cxnSpMkLst>
            <pc:docMk/>
            <pc:sldMk cId="176520361" sldId="264"/>
            <ac:cxnSpMk id="29" creationId="{4689B2CA-F2A8-97C9-8C5A-EBD3A6D9C127}"/>
          </ac:cxnSpMkLst>
        </pc:cxnChg>
        <pc:cxnChg chg="mod">
          <ac:chgData name="Patrick Jaenecke" userId="ba5df79b-7d0b-4e95-94d3-6ae7cd1bbe3d" providerId="ADAL" clId="{DC65C44D-198F-4C87-9C89-11AF910B9431}" dt="2025-11-10T09:52:42.096" v="523" actId="1076"/>
          <ac:cxnSpMkLst>
            <pc:docMk/>
            <pc:sldMk cId="176520361" sldId="264"/>
            <ac:cxnSpMk id="34" creationId="{AF529894-4789-F791-1EE2-B891A921B10A}"/>
          </ac:cxnSpMkLst>
        </pc:cxnChg>
        <pc:cxnChg chg="mod">
          <ac:chgData name="Patrick Jaenecke" userId="ba5df79b-7d0b-4e95-94d3-6ae7cd1bbe3d" providerId="ADAL" clId="{DC65C44D-198F-4C87-9C89-11AF910B9431}" dt="2025-11-10T09:51:45.149" v="504" actId="14100"/>
          <ac:cxnSpMkLst>
            <pc:docMk/>
            <pc:sldMk cId="176520361" sldId="264"/>
            <ac:cxnSpMk id="39" creationId="{61C284C5-2E39-3C65-D382-7B7E267C4DAF}"/>
          </ac:cxnSpMkLst>
        </pc:cxnChg>
        <pc:cxnChg chg="mod">
          <ac:chgData name="Patrick Jaenecke" userId="ba5df79b-7d0b-4e95-94d3-6ae7cd1bbe3d" providerId="ADAL" clId="{DC65C44D-198F-4C87-9C89-11AF910B9431}" dt="2025-11-10T09:52:00.214" v="505" actId="14100"/>
          <ac:cxnSpMkLst>
            <pc:docMk/>
            <pc:sldMk cId="176520361" sldId="264"/>
            <ac:cxnSpMk id="45" creationId="{90D4D1EC-626B-CC8B-6558-B8434DC41382}"/>
          </ac:cxnSpMkLst>
        </pc:cxnChg>
        <pc:cxnChg chg="mod">
          <ac:chgData name="Patrick Jaenecke" userId="ba5df79b-7d0b-4e95-94d3-6ae7cd1bbe3d" providerId="ADAL" clId="{DC65C44D-198F-4C87-9C89-11AF910B9431}" dt="2025-11-10T09:34:59.756" v="250" actId="14100"/>
          <ac:cxnSpMkLst>
            <pc:docMk/>
            <pc:sldMk cId="176520361" sldId="264"/>
            <ac:cxnSpMk id="50" creationId="{E369FC16-B788-D4FD-4603-E2221A723B94}"/>
          </ac:cxnSpMkLst>
        </pc:cxnChg>
        <pc:cxnChg chg="mod">
          <ac:chgData name="Patrick Jaenecke" userId="ba5df79b-7d0b-4e95-94d3-6ae7cd1bbe3d" providerId="ADAL" clId="{DC65C44D-198F-4C87-9C89-11AF910B9431}" dt="2025-11-10T09:35:16.130" v="257" actId="14100"/>
          <ac:cxnSpMkLst>
            <pc:docMk/>
            <pc:sldMk cId="176520361" sldId="264"/>
            <ac:cxnSpMk id="55" creationId="{17B04438-FCC1-462F-2A0C-59EF58F37A77}"/>
          </ac:cxnSpMkLst>
        </pc:cxnChg>
        <pc:cxnChg chg="mod">
          <ac:chgData name="Patrick Jaenecke" userId="ba5df79b-7d0b-4e95-94d3-6ae7cd1bbe3d" providerId="ADAL" clId="{DC65C44D-198F-4C87-9C89-11AF910B9431}" dt="2025-11-10T09:52:00.219" v="511" actId="14100"/>
          <ac:cxnSpMkLst>
            <pc:docMk/>
            <pc:sldMk cId="176520361" sldId="264"/>
            <ac:cxnSpMk id="66" creationId="{11EE121F-814B-DB38-AC2B-E55DF56F6796}"/>
          </ac:cxnSpMkLst>
        </pc:cxnChg>
        <pc:cxnChg chg="mod">
          <ac:chgData name="Patrick Jaenecke" userId="ba5df79b-7d0b-4e95-94d3-6ae7cd1bbe3d" providerId="ADAL" clId="{DC65C44D-198F-4C87-9C89-11AF910B9431}" dt="2025-11-10T09:52:00.217" v="509" actId="14100"/>
          <ac:cxnSpMkLst>
            <pc:docMk/>
            <pc:sldMk cId="176520361" sldId="264"/>
            <ac:cxnSpMk id="68" creationId="{696F0809-CCFD-DB0C-CC2A-154F7B7E15DF}"/>
          </ac:cxnSpMkLst>
        </pc:cxnChg>
        <pc:cxnChg chg="add mod">
          <ac:chgData name="Patrick Jaenecke" userId="ba5df79b-7d0b-4e95-94d3-6ae7cd1bbe3d" providerId="ADAL" clId="{DC65C44D-198F-4C87-9C89-11AF910B9431}" dt="2025-11-10T10:20:45.501" v="593" actId="14100"/>
          <ac:cxnSpMkLst>
            <pc:docMk/>
            <pc:sldMk cId="176520361" sldId="264"/>
            <ac:cxnSpMk id="162" creationId="{6B31C309-D31C-5ED0-7AFC-0FE2B888E487}"/>
          </ac:cxnSpMkLst>
        </pc:cxnChg>
      </pc:sldChg>
      <pc:sldChg chg="addSp delSp modSp add mod ord delAnim modAnim modShow">
        <pc:chgData name="Patrick Jaenecke" userId="ba5df79b-7d0b-4e95-94d3-6ae7cd1bbe3d" providerId="ADAL" clId="{DC65C44D-198F-4C87-9C89-11AF910B9431}" dt="2025-12-03T15:32:47.972" v="3818" actId="729"/>
        <pc:sldMkLst>
          <pc:docMk/>
          <pc:sldMk cId="4112063645" sldId="265"/>
        </pc:sldMkLst>
        <pc:spChg chg="add mod">
          <ac:chgData name="Patrick Jaenecke" userId="ba5df79b-7d0b-4e95-94d3-6ae7cd1bbe3d" providerId="ADAL" clId="{DC65C44D-198F-4C87-9C89-11AF910B9431}" dt="2025-12-03T15:12:35.320" v="3760"/>
          <ac:spMkLst>
            <pc:docMk/>
            <pc:sldMk cId="4112063645" sldId="265"/>
            <ac:spMk id="2" creationId="{FB9FB290-6997-B6B4-725E-849A3400C146}"/>
          </ac:spMkLst>
        </pc:spChg>
        <pc:spChg chg="mod">
          <ac:chgData name="Patrick Jaenecke" userId="ba5df79b-7d0b-4e95-94d3-6ae7cd1bbe3d" providerId="ADAL" clId="{DC65C44D-198F-4C87-9C89-11AF910B9431}" dt="2025-12-03T07:00:02.529" v="2652"/>
          <ac:spMkLst>
            <pc:docMk/>
            <pc:sldMk cId="4112063645" sldId="265"/>
            <ac:spMk id="5" creationId="{89EDF88D-735F-5FF5-BCC5-F205772F5AE4}"/>
          </ac:spMkLst>
        </pc:spChg>
        <pc:spChg chg="mod">
          <ac:chgData name="Patrick Jaenecke" userId="ba5df79b-7d0b-4e95-94d3-6ae7cd1bbe3d" providerId="ADAL" clId="{DC65C44D-198F-4C87-9C89-11AF910B9431}" dt="2025-12-03T07:00:02.529" v="2652"/>
          <ac:spMkLst>
            <pc:docMk/>
            <pc:sldMk cId="4112063645" sldId="265"/>
            <ac:spMk id="6" creationId="{69E190ED-21E5-1618-687B-16D2AA020BA1}"/>
          </ac:spMkLst>
        </pc:spChg>
        <pc:spChg chg="add mod ord">
          <ac:chgData name="Patrick Jaenecke" userId="ba5df79b-7d0b-4e95-94d3-6ae7cd1bbe3d" providerId="ADAL" clId="{DC65C44D-198F-4C87-9C89-11AF910B9431}" dt="2025-12-03T07:14:28.694" v="2820"/>
          <ac:spMkLst>
            <pc:docMk/>
            <pc:sldMk cId="4112063645" sldId="265"/>
            <ac:spMk id="8" creationId="{15851EAC-A4EA-89DC-B347-E842CDEC8D7E}"/>
          </ac:spMkLst>
        </pc:spChg>
        <pc:spChg chg="mod">
          <ac:chgData name="Patrick Jaenecke" userId="ba5df79b-7d0b-4e95-94d3-6ae7cd1bbe3d" providerId="ADAL" clId="{DC65C44D-198F-4C87-9C89-11AF910B9431}" dt="2025-12-03T07:00:02.529" v="2652"/>
          <ac:spMkLst>
            <pc:docMk/>
            <pc:sldMk cId="4112063645" sldId="265"/>
            <ac:spMk id="9" creationId="{60DC9AD3-B19A-C9D7-7078-129FBE573373}"/>
          </ac:spMkLst>
        </pc:spChg>
        <pc:spChg chg="mod">
          <ac:chgData name="Patrick Jaenecke" userId="ba5df79b-7d0b-4e95-94d3-6ae7cd1bbe3d" providerId="ADAL" clId="{DC65C44D-198F-4C87-9C89-11AF910B9431}" dt="2025-12-03T07:00:02.529" v="2652"/>
          <ac:spMkLst>
            <pc:docMk/>
            <pc:sldMk cId="4112063645" sldId="265"/>
            <ac:spMk id="10" creationId="{0FDD431B-F719-82BD-7514-F2C962D8885E}"/>
          </ac:spMkLst>
        </pc:spChg>
        <pc:spChg chg="mod">
          <ac:chgData name="Patrick Jaenecke" userId="ba5df79b-7d0b-4e95-94d3-6ae7cd1bbe3d" providerId="ADAL" clId="{DC65C44D-198F-4C87-9C89-11AF910B9431}" dt="2025-12-03T07:00:02.529" v="2652"/>
          <ac:spMkLst>
            <pc:docMk/>
            <pc:sldMk cId="4112063645" sldId="265"/>
            <ac:spMk id="11" creationId="{33F3CC56-F7FA-C274-F7AE-C9035CED8A47}"/>
          </ac:spMkLst>
        </pc:spChg>
        <pc:spChg chg="mod">
          <ac:chgData name="Patrick Jaenecke" userId="ba5df79b-7d0b-4e95-94d3-6ae7cd1bbe3d" providerId="ADAL" clId="{DC65C44D-198F-4C87-9C89-11AF910B9431}" dt="2025-12-03T07:00:02.529" v="2652"/>
          <ac:spMkLst>
            <pc:docMk/>
            <pc:sldMk cId="4112063645" sldId="265"/>
            <ac:spMk id="12" creationId="{80FBAB06-0DA9-92D1-A86E-4E8AAA82EAAF}"/>
          </ac:spMkLst>
        </pc:spChg>
        <pc:spChg chg="mod">
          <ac:chgData name="Patrick Jaenecke" userId="ba5df79b-7d0b-4e95-94d3-6ae7cd1bbe3d" providerId="ADAL" clId="{DC65C44D-198F-4C87-9C89-11AF910B9431}" dt="2025-12-03T07:00:02.529" v="2652"/>
          <ac:spMkLst>
            <pc:docMk/>
            <pc:sldMk cId="4112063645" sldId="265"/>
            <ac:spMk id="13" creationId="{7252A0E5-F0E7-AB86-C739-7662958EC670}"/>
          </ac:spMkLst>
        </pc:spChg>
        <pc:spChg chg="add mod">
          <ac:chgData name="Patrick Jaenecke" userId="ba5df79b-7d0b-4e95-94d3-6ae7cd1bbe3d" providerId="ADAL" clId="{DC65C44D-198F-4C87-9C89-11AF910B9431}" dt="2025-12-03T07:01:52.327" v="2669" actId="1076"/>
          <ac:spMkLst>
            <pc:docMk/>
            <pc:sldMk cId="4112063645" sldId="265"/>
            <ac:spMk id="16" creationId="{C33CE69E-C148-FBDA-A916-FEF543114574}"/>
          </ac:spMkLst>
        </pc:spChg>
        <pc:spChg chg="mod">
          <ac:chgData name="Patrick Jaenecke" userId="ba5df79b-7d0b-4e95-94d3-6ae7cd1bbe3d" providerId="ADAL" clId="{DC65C44D-198F-4C87-9C89-11AF910B9431}" dt="2025-11-30T13:44:32.617" v="2650" actId="14100"/>
          <ac:spMkLst>
            <pc:docMk/>
            <pc:sldMk cId="4112063645" sldId="265"/>
            <ac:spMk id="17" creationId="{185F6E74-2645-EBD8-6A5F-3BCA7D6328FF}"/>
          </ac:spMkLst>
        </pc:spChg>
        <pc:spChg chg="add mod">
          <ac:chgData name="Patrick Jaenecke" userId="ba5df79b-7d0b-4e95-94d3-6ae7cd1bbe3d" providerId="ADAL" clId="{DC65C44D-198F-4C87-9C89-11AF910B9431}" dt="2025-12-03T07:01:00.472" v="2662" actId="1038"/>
          <ac:spMkLst>
            <pc:docMk/>
            <pc:sldMk cId="4112063645" sldId="265"/>
            <ac:spMk id="19" creationId="{20E43862-49E9-3DF7-4965-3722A2E35DFF}"/>
          </ac:spMkLst>
        </pc:spChg>
        <pc:spChg chg="mod">
          <ac:chgData name="Patrick Jaenecke" userId="ba5df79b-7d0b-4e95-94d3-6ae7cd1bbe3d" providerId="ADAL" clId="{DC65C44D-198F-4C87-9C89-11AF910B9431}" dt="2025-12-03T07:02:47.824" v="2701" actId="1076"/>
          <ac:spMkLst>
            <pc:docMk/>
            <pc:sldMk cId="4112063645" sldId="265"/>
            <ac:spMk id="22" creationId="{6FBE0473-2E64-A320-45CF-F738ABF16A3E}"/>
          </ac:spMkLst>
        </pc:spChg>
        <pc:spChg chg="mod">
          <ac:chgData name="Patrick Jaenecke" userId="ba5df79b-7d0b-4e95-94d3-6ae7cd1bbe3d" providerId="ADAL" clId="{DC65C44D-198F-4C87-9C89-11AF910B9431}" dt="2025-12-03T07:02:51.314" v="2702" actId="1076"/>
          <ac:spMkLst>
            <pc:docMk/>
            <pc:sldMk cId="4112063645" sldId="265"/>
            <ac:spMk id="23" creationId="{89D71309-9DEC-F218-7905-340E5EF3D004}"/>
          </ac:spMkLst>
        </pc:spChg>
        <pc:spChg chg="add del mod">
          <ac:chgData name="Patrick Jaenecke" userId="ba5df79b-7d0b-4e95-94d3-6ae7cd1bbe3d" providerId="ADAL" clId="{DC65C44D-198F-4C87-9C89-11AF910B9431}" dt="2025-12-03T07:03:48.721" v="2711" actId="478"/>
          <ac:spMkLst>
            <pc:docMk/>
            <pc:sldMk cId="4112063645" sldId="265"/>
            <ac:spMk id="24" creationId="{9F24D838-7CF0-BE0D-CF15-B25A63E4A996}"/>
          </ac:spMkLst>
        </pc:spChg>
        <pc:spChg chg="add mod">
          <ac:chgData name="Patrick Jaenecke" userId="ba5df79b-7d0b-4e95-94d3-6ae7cd1bbe3d" providerId="ADAL" clId="{DC65C44D-198F-4C87-9C89-11AF910B9431}" dt="2025-12-03T07:13:21.955" v="2790" actId="1037"/>
          <ac:spMkLst>
            <pc:docMk/>
            <pc:sldMk cId="4112063645" sldId="265"/>
            <ac:spMk id="26" creationId="{F225ED2C-277E-4211-FB13-BFFA074D7F91}"/>
          </ac:spMkLst>
        </pc:spChg>
        <pc:spChg chg="mod">
          <ac:chgData name="Patrick Jaenecke" userId="ba5df79b-7d0b-4e95-94d3-6ae7cd1bbe3d" providerId="ADAL" clId="{DC65C44D-198F-4C87-9C89-11AF910B9431}" dt="2025-12-03T07:05:46.022" v="2769" actId="1076"/>
          <ac:spMkLst>
            <pc:docMk/>
            <pc:sldMk cId="4112063645" sldId="265"/>
            <ac:spMk id="30" creationId="{00266853-80AD-4264-A9FB-A6F524DA7B0A}"/>
          </ac:spMkLst>
        </pc:spChg>
        <pc:spChg chg="mod">
          <ac:chgData name="Patrick Jaenecke" userId="ba5df79b-7d0b-4e95-94d3-6ae7cd1bbe3d" providerId="ADAL" clId="{DC65C44D-198F-4C87-9C89-11AF910B9431}" dt="2025-11-30T13:44:26.116" v="2648" actId="14100"/>
          <ac:spMkLst>
            <pc:docMk/>
            <pc:sldMk cId="4112063645" sldId="265"/>
            <ac:spMk id="31" creationId="{FAAA697C-77B2-3903-D5DC-5C58D89AB377}"/>
          </ac:spMkLst>
        </pc:spChg>
        <pc:spChg chg="mod">
          <ac:chgData name="Patrick Jaenecke" userId="ba5df79b-7d0b-4e95-94d3-6ae7cd1bbe3d" providerId="ADAL" clId="{DC65C44D-198F-4C87-9C89-11AF910B9431}" dt="2025-12-03T07:04:53.106" v="2745" actId="299"/>
          <ac:spMkLst>
            <pc:docMk/>
            <pc:sldMk cId="4112063645" sldId="265"/>
            <ac:spMk id="32" creationId="{5C8E556D-70C5-76F0-B057-CD581C591E9C}"/>
          </ac:spMkLst>
        </pc:spChg>
        <pc:spChg chg="mod">
          <ac:chgData name="Patrick Jaenecke" userId="ba5df79b-7d0b-4e95-94d3-6ae7cd1bbe3d" providerId="ADAL" clId="{DC65C44D-198F-4C87-9C89-11AF910B9431}" dt="2025-12-03T07:05:43.477" v="2768" actId="1076"/>
          <ac:spMkLst>
            <pc:docMk/>
            <pc:sldMk cId="4112063645" sldId="265"/>
            <ac:spMk id="33" creationId="{AE125ED5-AEB3-CF51-9E09-67DABA0E32E9}"/>
          </ac:spMkLst>
        </pc:spChg>
        <pc:spChg chg="add del mod">
          <ac:chgData name="Patrick Jaenecke" userId="ba5df79b-7d0b-4e95-94d3-6ae7cd1bbe3d" providerId="ADAL" clId="{DC65C44D-198F-4C87-9C89-11AF910B9431}" dt="2025-12-03T07:03:46.982" v="2710" actId="478"/>
          <ac:spMkLst>
            <pc:docMk/>
            <pc:sldMk cId="4112063645" sldId="265"/>
            <ac:spMk id="34" creationId="{E79D8899-C47C-5C25-FAE2-A7BC474541E2}"/>
          </ac:spMkLst>
        </pc:spChg>
        <pc:spChg chg="add mod">
          <ac:chgData name="Patrick Jaenecke" userId="ba5df79b-7d0b-4e95-94d3-6ae7cd1bbe3d" providerId="ADAL" clId="{DC65C44D-198F-4C87-9C89-11AF910B9431}" dt="2025-12-03T07:14:31.774" v="2822"/>
          <ac:spMkLst>
            <pc:docMk/>
            <pc:sldMk cId="4112063645" sldId="265"/>
            <ac:spMk id="35" creationId="{93FDD9AC-2E26-537C-7A5A-9B87BDD0BB3D}"/>
          </ac:spMkLst>
        </pc:spChg>
        <pc:spChg chg="mod">
          <ac:chgData name="Patrick Jaenecke" userId="ba5df79b-7d0b-4e95-94d3-6ae7cd1bbe3d" providerId="ADAL" clId="{DC65C44D-198F-4C87-9C89-11AF910B9431}" dt="2025-11-30T13:38:40.423" v="2633" actId="1036"/>
          <ac:spMkLst>
            <pc:docMk/>
            <pc:sldMk cId="4112063645" sldId="265"/>
            <ac:spMk id="43" creationId="{625063A7-654F-1C47-2C9E-38CC4712C28F}"/>
          </ac:spMkLst>
        </pc:spChg>
        <pc:spChg chg="mod">
          <ac:chgData name="Patrick Jaenecke" userId="ba5df79b-7d0b-4e95-94d3-6ae7cd1bbe3d" providerId="ADAL" clId="{DC65C44D-198F-4C87-9C89-11AF910B9431}" dt="2025-11-30T13:38:34.076" v="2626" actId="1036"/>
          <ac:spMkLst>
            <pc:docMk/>
            <pc:sldMk cId="4112063645" sldId="265"/>
            <ac:spMk id="44" creationId="{B07B9EDE-F1FD-4554-E7F2-7145CA1135CF}"/>
          </ac:spMkLst>
        </pc:spChg>
        <pc:spChg chg="mod">
          <ac:chgData name="Patrick Jaenecke" userId="ba5df79b-7d0b-4e95-94d3-6ae7cd1bbe3d" providerId="ADAL" clId="{DC65C44D-198F-4C87-9C89-11AF910B9431}" dt="2025-11-30T13:44:29.762" v="2649" actId="14100"/>
          <ac:spMkLst>
            <pc:docMk/>
            <pc:sldMk cId="4112063645" sldId="265"/>
            <ac:spMk id="47" creationId="{82806406-D50A-6A5D-1A90-57F4A52EF96F}"/>
          </ac:spMkLst>
        </pc:spChg>
        <pc:spChg chg="mod">
          <ac:chgData name="Patrick Jaenecke" userId="ba5df79b-7d0b-4e95-94d3-6ae7cd1bbe3d" providerId="ADAL" clId="{DC65C44D-198F-4C87-9C89-11AF910B9431}" dt="2025-11-30T12:55:09.559" v="2346" actId="1035"/>
          <ac:spMkLst>
            <pc:docMk/>
            <pc:sldMk cId="4112063645" sldId="265"/>
            <ac:spMk id="51" creationId="{C53F3AD8-14D0-6AED-D626-37369FCA1B3D}"/>
          </ac:spMkLst>
        </pc:spChg>
        <pc:spChg chg="add del mod ord">
          <ac:chgData name="Patrick Jaenecke" userId="ba5df79b-7d0b-4e95-94d3-6ae7cd1bbe3d" providerId="ADAL" clId="{DC65C44D-198F-4C87-9C89-11AF910B9431}" dt="2025-12-03T07:13:21.955" v="2790" actId="1037"/>
          <ac:spMkLst>
            <pc:docMk/>
            <pc:sldMk cId="4112063645" sldId="265"/>
            <ac:spMk id="116" creationId="{8B89B6EE-A66C-BD71-FF5B-973D9EB268EE}"/>
          </ac:spMkLst>
        </pc:spChg>
        <pc:spChg chg="mod">
          <ac:chgData name="Patrick Jaenecke" userId="ba5df79b-7d0b-4e95-94d3-6ae7cd1bbe3d" providerId="ADAL" clId="{DC65C44D-198F-4C87-9C89-11AF910B9431}" dt="2025-11-30T13:17:36.834" v="2536" actId="1036"/>
          <ac:spMkLst>
            <pc:docMk/>
            <pc:sldMk cId="4112063645" sldId="265"/>
            <ac:spMk id="150" creationId="{07B3F5AC-4585-1D0C-05CF-D2017824035A}"/>
          </ac:spMkLst>
        </pc:spChg>
        <pc:spChg chg="mod">
          <ac:chgData name="Patrick Jaenecke" userId="ba5df79b-7d0b-4e95-94d3-6ae7cd1bbe3d" providerId="ADAL" clId="{DC65C44D-198F-4C87-9C89-11AF910B9431}" dt="2025-11-30T13:03:27.124" v="2428" actId="207"/>
          <ac:spMkLst>
            <pc:docMk/>
            <pc:sldMk cId="4112063645" sldId="265"/>
            <ac:spMk id="153" creationId="{F8904323-4092-CFA3-6BF5-B137174445F2}"/>
          </ac:spMkLst>
        </pc:spChg>
        <pc:spChg chg="mod">
          <ac:chgData name="Patrick Jaenecke" userId="ba5df79b-7d0b-4e95-94d3-6ae7cd1bbe3d" providerId="ADAL" clId="{DC65C44D-198F-4C87-9C89-11AF910B9431}" dt="2025-11-30T13:38:34.076" v="2626" actId="1036"/>
          <ac:spMkLst>
            <pc:docMk/>
            <pc:sldMk cId="4112063645" sldId="265"/>
            <ac:spMk id="155" creationId="{77DA9AF7-BC77-849B-CE58-4DEF32299594}"/>
          </ac:spMkLst>
        </pc:spChg>
        <pc:spChg chg="mod">
          <ac:chgData name="Patrick Jaenecke" userId="ba5df79b-7d0b-4e95-94d3-6ae7cd1bbe3d" providerId="ADAL" clId="{DC65C44D-198F-4C87-9C89-11AF910B9431}" dt="2025-11-30T13:38:40.423" v="2633" actId="1036"/>
          <ac:spMkLst>
            <pc:docMk/>
            <pc:sldMk cId="4112063645" sldId="265"/>
            <ac:spMk id="157" creationId="{9FE778ED-0BB4-C902-3661-5E5DFE13FF5A}"/>
          </ac:spMkLst>
        </pc:spChg>
        <pc:spChg chg="del mod topLvl">
          <ac:chgData name="Patrick Jaenecke" userId="ba5df79b-7d0b-4e95-94d3-6ae7cd1bbe3d" providerId="ADAL" clId="{DC65C44D-198F-4C87-9C89-11AF910B9431}" dt="2025-12-03T07:00:07.425" v="2654" actId="478"/>
          <ac:spMkLst>
            <pc:docMk/>
            <pc:sldMk cId="4112063645" sldId="265"/>
            <ac:spMk id="160" creationId="{AA65E00E-4411-CC11-3A48-B3A4FF53B25C}"/>
          </ac:spMkLst>
        </pc:spChg>
        <pc:spChg chg="add del mod">
          <ac:chgData name="Patrick Jaenecke" userId="ba5df79b-7d0b-4e95-94d3-6ae7cd1bbe3d" providerId="ADAL" clId="{DC65C44D-198F-4C87-9C89-11AF910B9431}" dt="2025-12-03T08:28:37.193" v="2823" actId="478"/>
          <ac:spMkLst>
            <pc:docMk/>
            <pc:sldMk cId="4112063645" sldId="265"/>
            <ac:spMk id="164" creationId="{B86DCA22-3BE9-E55D-0F5D-4FC8CC201E81}"/>
          </ac:spMkLst>
        </pc:spChg>
        <pc:spChg chg="add mod ord">
          <ac:chgData name="Patrick Jaenecke" userId="ba5df79b-7d0b-4e95-94d3-6ae7cd1bbe3d" providerId="ADAL" clId="{DC65C44D-198F-4C87-9C89-11AF910B9431}" dt="2025-12-03T07:03:21.087" v="2707" actId="166"/>
          <ac:spMkLst>
            <pc:docMk/>
            <pc:sldMk cId="4112063645" sldId="265"/>
            <ac:spMk id="165" creationId="{0A278759-30A4-AEA2-A97E-C40B32DD55B3}"/>
          </ac:spMkLst>
        </pc:spChg>
        <pc:spChg chg="mod">
          <ac:chgData name="Patrick Jaenecke" userId="ba5df79b-7d0b-4e95-94d3-6ae7cd1bbe3d" providerId="ADAL" clId="{DC65C44D-198F-4C87-9C89-11AF910B9431}" dt="2025-12-03T07:01:48.678" v="2668" actId="1076"/>
          <ac:spMkLst>
            <pc:docMk/>
            <pc:sldMk cId="4112063645" sldId="265"/>
            <ac:spMk id="166" creationId="{F734794D-E210-E2DB-8988-4A3BD621F275}"/>
          </ac:spMkLst>
        </pc:spChg>
        <pc:spChg chg="add del mod topLvl">
          <ac:chgData name="Patrick Jaenecke" userId="ba5df79b-7d0b-4e95-94d3-6ae7cd1bbe3d" providerId="ADAL" clId="{DC65C44D-198F-4C87-9C89-11AF910B9431}" dt="2025-12-03T07:00:35.694" v="2659" actId="478"/>
          <ac:spMkLst>
            <pc:docMk/>
            <pc:sldMk cId="4112063645" sldId="265"/>
            <ac:spMk id="169" creationId="{36C379A3-2A9A-EBF7-706A-BA0B7932EDE7}"/>
          </ac:spMkLst>
        </pc:spChg>
        <pc:spChg chg="mod">
          <ac:chgData name="Patrick Jaenecke" userId="ba5df79b-7d0b-4e95-94d3-6ae7cd1bbe3d" providerId="ADAL" clId="{DC65C44D-198F-4C87-9C89-11AF910B9431}" dt="2025-11-30T13:01:02.454" v="2393" actId="120"/>
          <ac:spMkLst>
            <pc:docMk/>
            <pc:sldMk cId="4112063645" sldId="265"/>
            <ac:spMk id="175" creationId="{94E70ABE-1981-DCAA-54C8-D98B9DBA924F}"/>
          </ac:spMkLst>
        </pc:spChg>
        <pc:spChg chg="add del mod topLvl">
          <ac:chgData name="Patrick Jaenecke" userId="ba5df79b-7d0b-4e95-94d3-6ae7cd1bbe3d" providerId="ADAL" clId="{DC65C44D-198F-4C87-9C89-11AF910B9431}" dt="2025-12-03T07:00:35.694" v="2659" actId="478"/>
          <ac:spMkLst>
            <pc:docMk/>
            <pc:sldMk cId="4112063645" sldId="265"/>
            <ac:spMk id="176" creationId="{D4685945-D8B9-9EB3-C8DE-E087AB1F69D8}"/>
          </ac:spMkLst>
        </pc:spChg>
        <pc:spChg chg="mod">
          <ac:chgData name="Patrick Jaenecke" userId="ba5df79b-7d0b-4e95-94d3-6ae7cd1bbe3d" providerId="ADAL" clId="{DC65C44D-198F-4C87-9C89-11AF910B9431}" dt="2025-11-30T13:01:12.872" v="2394" actId="1076"/>
          <ac:spMkLst>
            <pc:docMk/>
            <pc:sldMk cId="4112063645" sldId="265"/>
            <ac:spMk id="178" creationId="{C4B63880-DE1A-22CF-DFD6-21DF05B03B40}"/>
          </ac:spMkLst>
        </pc:spChg>
        <pc:spChg chg="add del mod">
          <ac:chgData name="Patrick Jaenecke" userId="ba5df79b-7d0b-4e95-94d3-6ae7cd1bbe3d" providerId="ADAL" clId="{DC65C44D-198F-4C87-9C89-11AF910B9431}" dt="2025-12-03T07:00:35.694" v="2659" actId="478"/>
          <ac:spMkLst>
            <pc:docMk/>
            <pc:sldMk cId="4112063645" sldId="265"/>
            <ac:spMk id="192" creationId="{111E49F4-52D5-4589-7A4D-30F9F9A6378E}"/>
          </ac:spMkLst>
        </pc:spChg>
        <pc:spChg chg="mod ord">
          <ac:chgData name="Patrick Jaenecke" userId="ba5df79b-7d0b-4e95-94d3-6ae7cd1bbe3d" providerId="ADAL" clId="{DC65C44D-198F-4C87-9C89-11AF910B9431}" dt="2025-11-30T13:17:34.309" v="2532" actId="1036"/>
          <ac:spMkLst>
            <pc:docMk/>
            <pc:sldMk cId="4112063645" sldId="265"/>
            <ac:spMk id="260" creationId="{474C4504-8AA1-E055-6A6D-3E1BEFA15E77}"/>
          </ac:spMkLst>
        </pc:spChg>
        <pc:spChg chg="mod topLvl">
          <ac:chgData name="Patrick Jaenecke" userId="ba5df79b-7d0b-4e95-94d3-6ae7cd1bbe3d" providerId="ADAL" clId="{DC65C44D-198F-4C87-9C89-11AF910B9431}" dt="2025-11-30T12:53:42.314" v="2317" actId="164"/>
          <ac:spMkLst>
            <pc:docMk/>
            <pc:sldMk cId="4112063645" sldId="265"/>
            <ac:spMk id="263" creationId="{6D085D85-7C27-BE55-DFED-3566AEDD3B86}"/>
          </ac:spMkLst>
        </pc:spChg>
        <pc:spChg chg="mod topLvl">
          <ac:chgData name="Patrick Jaenecke" userId="ba5df79b-7d0b-4e95-94d3-6ae7cd1bbe3d" providerId="ADAL" clId="{DC65C44D-198F-4C87-9C89-11AF910B9431}" dt="2025-11-30T12:53:42.314" v="2317" actId="164"/>
          <ac:spMkLst>
            <pc:docMk/>
            <pc:sldMk cId="4112063645" sldId="265"/>
            <ac:spMk id="264" creationId="{3EFAAD69-B678-0636-8A1F-92BF56AA3D82}"/>
          </ac:spMkLst>
        </pc:spChg>
        <pc:spChg chg="mod topLvl">
          <ac:chgData name="Patrick Jaenecke" userId="ba5df79b-7d0b-4e95-94d3-6ae7cd1bbe3d" providerId="ADAL" clId="{DC65C44D-198F-4C87-9C89-11AF910B9431}" dt="2025-11-30T12:53:42.314" v="2317" actId="164"/>
          <ac:spMkLst>
            <pc:docMk/>
            <pc:sldMk cId="4112063645" sldId="265"/>
            <ac:spMk id="265" creationId="{021B6F92-CDC6-C0D9-8890-4098B59EACC9}"/>
          </ac:spMkLst>
        </pc:spChg>
        <pc:spChg chg="mod topLvl">
          <ac:chgData name="Patrick Jaenecke" userId="ba5df79b-7d0b-4e95-94d3-6ae7cd1bbe3d" providerId="ADAL" clId="{DC65C44D-198F-4C87-9C89-11AF910B9431}" dt="2025-11-30T12:53:42.314" v="2317" actId="164"/>
          <ac:spMkLst>
            <pc:docMk/>
            <pc:sldMk cId="4112063645" sldId="265"/>
            <ac:spMk id="266" creationId="{5B47902E-7343-82B0-2F9D-AC1E16AC6965}"/>
          </ac:spMkLst>
        </pc:spChg>
        <pc:spChg chg="mod topLvl">
          <ac:chgData name="Patrick Jaenecke" userId="ba5df79b-7d0b-4e95-94d3-6ae7cd1bbe3d" providerId="ADAL" clId="{DC65C44D-198F-4C87-9C89-11AF910B9431}" dt="2025-11-30T12:53:42.314" v="2317" actId="164"/>
          <ac:spMkLst>
            <pc:docMk/>
            <pc:sldMk cId="4112063645" sldId="265"/>
            <ac:spMk id="267" creationId="{F0CAFF4A-83FA-7B9E-943D-8C5187FE3413}"/>
          </ac:spMkLst>
        </pc:spChg>
        <pc:spChg chg="mod topLvl">
          <ac:chgData name="Patrick Jaenecke" userId="ba5df79b-7d0b-4e95-94d3-6ae7cd1bbe3d" providerId="ADAL" clId="{DC65C44D-198F-4C87-9C89-11AF910B9431}" dt="2025-11-30T12:53:42.314" v="2317" actId="164"/>
          <ac:spMkLst>
            <pc:docMk/>
            <pc:sldMk cId="4112063645" sldId="265"/>
            <ac:spMk id="270" creationId="{797F3645-4BCD-DAAA-721D-EC05625CC336}"/>
          </ac:spMkLst>
        </pc:spChg>
        <pc:spChg chg="mod topLvl">
          <ac:chgData name="Patrick Jaenecke" userId="ba5df79b-7d0b-4e95-94d3-6ae7cd1bbe3d" providerId="ADAL" clId="{DC65C44D-198F-4C87-9C89-11AF910B9431}" dt="2025-11-30T12:53:42.314" v="2317" actId="164"/>
          <ac:spMkLst>
            <pc:docMk/>
            <pc:sldMk cId="4112063645" sldId="265"/>
            <ac:spMk id="271" creationId="{3214FC0C-0517-75AA-7A34-F8A0894EFFFE}"/>
          </ac:spMkLst>
        </pc:spChg>
        <pc:spChg chg="mod topLvl">
          <ac:chgData name="Patrick Jaenecke" userId="ba5df79b-7d0b-4e95-94d3-6ae7cd1bbe3d" providerId="ADAL" clId="{DC65C44D-198F-4C87-9C89-11AF910B9431}" dt="2025-11-30T12:53:42.314" v="2317" actId="164"/>
          <ac:spMkLst>
            <pc:docMk/>
            <pc:sldMk cId="4112063645" sldId="265"/>
            <ac:spMk id="272" creationId="{188260C3-A6DC-2008-35AF-638F63B8B654}"/>
          </ac:spMkLst>
        </pc:spChg>
        <pc:spChg chg="mod">
          <ac:chgData name="Patrick Jaenecke" userId="ba5df79b-7d0b-4e95-94d3-6ae7cd1bbe3d" providerId="ADAL" clId="{DC65C44D-198F-4C87-9C89-11AF910B9431}" dt="2025-12-03T07:13:21.955" v="2790" actId="1037"/>
          <ac:spMkLst>
            <pc:docMk/>
            <pc:sldMk cId="4112063645" sldId="265"/>
            <ac:spMk id="273" creationId="{C51C2327-5342-01C2-8585-16B5F80A55E4}"/>
          </ac:spMkLst>
        </pc:spChg>
        <pc:spChg chg="mod topLvl">
          <ac:chgData name="Patrick Jaenecke" userId="ba5df79b-7d0b-4e95-94d3-6ae7cd1bbe3d" providerId="ADAL" clId="{DC65C44D-198F-4C87-9C89-11AF910B9431}" dt="2025-12-03T07:13:21.955" v="2790" actId="1037"/>
          <ac:spMkLst>
            <pc:docMk/>
            <pc:sldMk cId="4112063645" sldId="265"/>
            <ac:spMk id="274" creationId="{05CE0E4F-5DFC-04DF-2218-7A97769BB328}"/>
          </ac:spMkLst>
        </pc:spChg>
        <pc:spChg chg="mod">
          <ac:chgData name="Patrick Jaenecke" userId="ba5df79b-7d0b-4e95-94d3-6ae7cd1bbe3d" providerId="ADAL" clId="{DC65C44D-198F-4C87-9C89-11AF910B9431}" dt="2025-11-30T12:52:51.741" v="2303" actId="165"/>
          <ac:spMkLst>
            <pc:docMk/>
            <pc:sldMk cId="4112063645" sldId="265"/>
            <ac:spMk id="276" creationId="{F6A06203-0201-0CD3-EE1E-77F62B6D1DF6}"/>
          </ac:spMkLst>
        </pc:spChg>
        <pc:spChg chg="add mod">
          <ac:chgData name="Patrick Jaenecke" userId="ba5df79b-7d0b-4e95-94d3-6ae7cd1bbe3d" providerId="ADAL" clId="{DC65C44D-198F-4C87-9C89-11AF910B9431}" dt="2025-12-03T07:13:21.955" v="2790" actId="1037"/>
          <ac:spMkLst>
            <pc:docMk/>
            <pc:sldMk cId="4112063645" sldId="265"/>
            <ac:spMk id="281" creationId="{1B99D437-FEE4-F0B8-6BF4-948B3907EC69}"/>
          </ac:spMkLst>
        </pc:spChg>
        <pc:spChg chg="add mod">
          <ac:chgData name="Patrick Jaenecke" userId="ba5df79b-7d0b-4e95-94d3-6ae7cd1bbe3d" providerId="ADAL" clId="{DC65C44D-198F-4C87-9C89-11AF910B9431}" dt="2025-12-03T07:13:21.955" v="2790" actId="1037"/>
          <ac:spMkLst>
            <pc:docMk/>
            <pc:sldMk cId="4112063645" sldId="265"/>
            <ac:spMk id="282" creationId="{C098B13E-86A3-9E23-4BC5-08EA1FD89E42}"/>
          </ac:spMkLst>
        </pc:spChg>
        <pc:spChg chg="add mod">
          <ac:chgData name="Patrick Jaenecke" userId="ba5df79b-7d0b-4e95-94d3-6ae7cd1bbe3d" providerId="ADAL" clId="{DC65C44D-198F-4C87-9C89-11AF910B9431}" dt="2025-11-30T12:55:30.094" v="2348" actId="1076"/>
          <ac:spMkLst>
            <pc:docMk/>
            <pc:sldMk cId="4112063645" sldId="265"/>
            <ac:spMk id="283" creationId="{0E47E2E0-B494-2A9E-5E20-82D85CA0304F}"/>
          </ac:spMkLst>
        </pc:spChg>
        <pc:spChg chg="add mod">
          <ac:chgData name="Patrick Jaenecke" userId="ba5df79b-7d0b-4e95-94d3-6ae7cd1bbe3d" providerId="ADAL" clId="{DC65C44D-198F-4C87-9C89-11AF910B9431}" dt="2025-11-30T12:55:21.687" v="2347" actId="1076"/>
          <ac:spMkLst>
            <pc:docMk/>
            <pc:sldMk cId="4112063645" sldId="265"/>
            <ac:spMk id="284" creationId="{E9678E63-B432-1BBB-3EB1-FBA8AADAFF03}"/>
          </ac:spMkLst>
        </pc:spChg>
        <pc:spChg chg="add mod">
          <ac:chgData name="Patrick Jaenecke" userId="ba5df79b-7d0b-4e95-94d3-6ae7cd1bbe3d" providerId="ADAL" clId="{DC65C44D-198F-4C87-9C89-11AF910B9431}" dt="2025-11-30T12:55:55.950" v="2354" actId="1076"/>
          <ac:spMkLst>
            <pc:docMk/>
            <pc:sldMk cId="4112063645" sldId="265"/>
            <ac:spMk id="285" creationId="{BB2E61B9-7BEE-880D-8FC7-40F9F3550F0A}"/>
          </ac:spMkLst>
        </pc:spChg>
        <pc:spChg chg="add mod">
          <ac:chgData name="Patrick Jaenecke" userId="ba5df79b-7d0b-4e95-94d3-6ae7cd1bbe3d" providerId="ADAL" clId="{DC65C44D-198F-4C87-9C89-11AF910B9431}" dt="2025-11-30T12:55:55.950" v="2354" actId="1076"/>
          <ac:spMkLst>
            <pc:docMk/>
            <pc:sldMk cId="4112063645" sldId="265"/>
            <ac:spMk id="286" creationId="{C9F806B5-4AD7-E611-6BFC-8F6DF1ACB38A}"/>
          </ac:spMkLst>
        </pc:spChg>
        <pc:spChg chg="add mod">
          <ac:chgData name="Patrick Jaenecke" userId="ba5df79b-7d0b-4e95-94d3-6ae7cd1bbe3d" providerId="ADAL" clId="{DC65C44D-198F-4C87-9C89-11AF910B9431}" dt="2025-11-30T13:07:05.930" v="2475" actId="1035"/>
          <ac:spMkLst>
            <pc:docMk/>
            <pc:sldMk cId="4112063645" sldId="265"/>
            <ac:spMk id="289" creationId="{650F885E-85DB-D5AF-E37B-0A4A9FB3724B}"/>
          </ac:spMkLst>
        </pc:spChg>
        <pc:spChg chg="add mod">
          <ac:chgData name="Patrick Jaenecke" userId="ba5df79b-7d0b-4e95-94d3-6ae7cd1bbe3d" providerId="ADAL" clId="{DC65C44D-198F-4C87-9C89-11AF910B9431}" dt="2025-11-30T13:21:31.202" v="2544" actId="1035"/>
          <ac:spMkLst>
            <pc:docMk/>
            <pc:sldMk cId="4112063645" sldId="265"/>
            <ac:spMk id="290" creationId="{45E1B838-78BE-40F9-0300-9AF0BB79C433}"/>
          </ac:spMkLst>
        </pc:spChg>
        <pc:spChg chg="add mod ord">
          <ac:chgData name="Patrick Jaenecke" userId="ba5df79b-7d0b-4e95-94d3-6ae7cd1bbe3d" providerId="ADAL" clId="{DC65C44D-198F-4C87-9C89-11AF910B9431}" dt="2025-11-30T13:07:46.228" v="2481" actId="20577"/>
          <ac:spMkLst>
            <pc:docMk/>
            <pc:sldMk cId="4112063645" sldId="265"/>
            <ac:spMk id="291" creationId="{35D351F8-0F18-55B6-09C4-49167317A613}"/>
          </ac:spMkLst>
        </pc:spChg>
        <pc:spChg chg="add mod">
          <ac:chgData name="Patrick Jaenecke" userId="ba5df79b-7d0b-4e95-94d3-6ae7cd1bbe3d" providerId="ADAL" clId="{DC65C44D-198F-4C87-9C89-11AF910B9431}" dt="2025-11-30T13:39:18.895" v="2642"/>
          <ac:spMkLst>
            <pc:docMk/>
            <pc:sldMk cId="4112063645" sldId="265"/>
            <ac:spMk id="293" creationId="{C8668BE6-CFA1-D09A-32CF-87726F399A78}"/>
          </ac:spMkLst>
        </pc:spChg>
        <pc:grpChg chg="mod">
          <ac:chgData name="Patrick Jaenecke" userId="ba5df79b-7d0b-4e95-94d3-6ae7cd1bbe3d" providerId="ADAL" clId="{DC65C44D-198F-4C87-9C89-11AF910B9431}" dt="2025-12-03T07:01:00.472" v="2662" actId="1038"/>
          <ac:grpSpMkLst>
            <pc:docMk/>
            <pc:sldMk cId="4112063645" sldId="265"/>
            <ac:grpSpMk id="3" creationId="{5AE834DB-5B21-016B-29FA-8AC8D9B28DE7}"/>
          </ac:grpSpMkLst>
        </pc:grpChg>
        <pc:grpChg chg="add mod">
          <ac:chgData name="Patrick Jaenecke" userId="ba5df79b-7d0b-4e95-94d3-6ae7cd1bbe3d" providerId="ADAL" clId="{DC65C44D-198F-4C87-9C89-11AF910B9431}" dt="2025-12-03T07:03:15.921" v="2706" actId="1076"/>
          <ac:grpSpMkLst>
            <pc:docMk/>
            <pc:sldMk cId="4112063645" sldId="265"/>
            <ac:grpSpMk id="20" creationId="{B48634C5-C6C5-EE9D-ED0C-8EE89AEDCE5C}"/>
          </ac:grpSpMkLst>
        </pc:grpChg>
        <pc:grpChg chg="add mod">
          <ac:chgData name="Patrick Jaenecke" userId="ba5df79b-7d0b-4e95-94d3-6ae7cd1bbe3d" providerId="ADAL" clId="{DC65C44D-198F-4C87-9C89-11AF910B9431}" dt="2025-12-03T07:13:21.955" v="2790" actId="1037"/>
          <ac:grpSpMkLst>
            <pc:docMk/>
            <pc:sldMk cId="4112063645" sldId="265"/>
            <ac:grpSpMk id="27" creationId="{FDE8E0AA-C83A-F85F-8D1B-2C777BF75EBC}"/>
          </ac:grpSpMkLst>
        </pc:grpChg>
        <pc:grpChg chg="add del mod">
          <ac:chgData name="Patrick Jaenecke" userId="ba5df79b-7d0b-4e95-94d3-6ae7cd1bbe3d" providerId="ADAL" clId="{DC65C44D-198F-4C87-9C89-11AF910B9431}" dt="2025-12-03T07:02:03.883" v="2670" actId="478"/>
          <ac:grpSpMkLst>
            <pc:docMk/>
            <pc:sldMk cId="4112063645" sldId="265"/>
            <ac:grpSpMk id="57" creationId="{1FD2D964-FB8C-C3BC-2DE6-1A4B559C886C}"/>
          </ac:grpSpMkLst>
        </pc:grpChg>
        <pc:grpChg chg="mod">
          <ac:chgData name="Patrick Jaenecke" userId="ba5df79b-7d0b-4e95-94d3-6ae7cd1bbe3d" providerId="ADAL" clId="{DC65C44D-198F-4C87-9C89-11AF910B9431}" dt="2025-11-30T12:55:09.559" v="2346" actId="1035"/>
          <ac:grpSpMkLst>
            <pc:docMk/>
            <pc:sldMk cId="4112063645" sldId="265"/>
            <ac:grpSpMk id="151" creationId="{FE030233-EB73-1381-1C21-7CDDB25D5B18}"/>
          </ac:grpSpMkLst>
        </pc:grpChg>
        <pc:grpChg chg="add del mod">
          <ac:chgData name="Patrick Jaenecke" userId="ba5df79b-7d0b-4e95-94d3-6ae7cd1bbe3d" providerId="ADAL" clId="{DC65C44D-198F-4C87-9C89-11AF910B9431}" dt="2025-12-03T07:00:35.694" v="2659" actId="478"/>
          <ac:grpSpMkLst>
            <pc:docMk/>
            <pc:sldMk cId="4112063645" sldId="265"/>
            <ac:grpSpMk id="193" creationId="{14EA5478-F3E4-1112-CD91-EB0095B77CC5}"/>
          </ac:grpSpMkLst>
        </pc:grpChg>
        <pc:grpChg chg="ord">
          <ac:chgData name="Patrick Jaenecke" userId="ba5df79b-7d0b-4e95-94d3-6ae7cd1bbe3d" providerId="ADAL" clId="{DC65C44D-198F-4C87-9C89-11AF910B9431}" dt="2025-11-30T12:55:42.314" v="2352" actId="166"/>
          <ac:grpSpMkLst>
            <pc:docMk/>
            <pc:sldMk cId="4112063645" sldId="265"/>
            <ac:grpSpMk id="259" creationId="{9CEC6321-84B4-F27E-E670-16A8032B0782}"/>
          </ac:grpSpMkLst>
        </pc:grpChg>
        <pc:grpChg chg="mod">
          <ac:chgData name="Patrick Jaenecke" userId="ba5df79b-7d0b-4e95-94d3-6ae7cd1bbe3d" providerId="ADAL" clId="{DC65C44D-198F-4C87-9C89-11AF910B9431}" dt="2025-11-30T12:53:42.314" v="2317" actId="164"/>
          <ac:grpSpMkLst>
            <pc:docMk/>
            <pc:sldMk cId="4112063645" sldId="265"/>
            <ac:grpSpMk id="262" creationId="{23525A0F-64F2-09B4-B99F-1D2C06A636CB}"/>
          </ac:grpSpMkLst>
        </pc:grpChg>
        <pc:grpChg chg="add mod">
          <ac:chgData name="Patrick Jaenecke" userId="ba5df79b-7d0b-4e95-94d3-6ae7cd1bbe3d" providerId="ADAL" clId="{DC65C44D-198F-4C87-9C89-11AF910B9431}" dt="2025-12-03T07:13:21.955" v="2790" actId="1037"/>
          <ac:grpSpMkLst>
            <pc:docMk/>
            <pc:sldMk cId="4112063645" sldId="265"/>
            <ac:grpSpMk id="280" creationId="{5778860B-6406-2BDB-6EB2-015A06F2CB54}"/>
          </ac:grpSpMkLst>
        </pc:grpChg>
        <pc:grpChg chg="del mod">
          <ac:chgData name="Patrick Jaenecke" userId="ba5df79b-7d0b-4e95-94d3-6ae7cd1bbe3d" providerId="ADAL" clId="{DC65C44D-198F-4C87-9C89-11AF910B9431}" dt="2025-12-03T06:59:55.175" v="2651" actId="478"/>
          <ac:grpSpMkLst>
            <pc:docMk/>
            <pc:sldMk cId="4112063645" sldId="265"/>
            <ac:grpSpMk id="288" creationId="{C0EE26EA-F12E-81E6-6671-313AC621EAF0}"/>
          </ac:grpSpMkLst>
        </pc:grpChg>
        <pc:grpChg chg="mod">
          <ac:chgData name="Patrick Jaenecke" userId="ba5df79b-7d0b-4e95-94d3-6ae7cd1bbe3d" providerId="ADAL" clId="{DC65C44D-198F-4C87-9C89-11AF910B9431}" dt="2025-11-30T13:39:26.316" v="2643" actId="1076"/>
          <ac:grpSpMkLst>
            <pc:docMk/>
            <pc:sldMk cId="4112063645" sldId="265"/>
            <ac:grpSpMk id="345" creationId="{74A3945E-4F94-C685-08DB-EF2B1C18F830}"/>
          </ac:grpSpMkLst>
        </pc:grpChg>
        <pc:graphicFrameChg chg="mod">
          <ac:chgData name="Patrick Jaenecke" userId="ba5df79b-7d0b-4e95-94d3-6ae7cd1bbe3d" providerId="ADAL" clId="{DC65C44D-198F-4C87-9C89-11AF910B9431}" dt="2025-11-30T13:39:40.106" v="2644" actId="1076"/>
          <ac:graphicFrameMkLst>
            <pc:docMk/>
            <pc:sldMk cId="4112063645" sldId="265"/>
            <ac:graphicFrameMk id="191" creationId="{9B090F44-F671-A707-F706-529B17945E53}"/>
          </ac:graphicFrameMkLst>
        </pc:graphicFrameChg>
        <pc:picChg chg="mod">
          <ac:chgData name="Patrick Jaenecke" userId="ba5df79b-7d0b-4e95-94d3-6ae7cd1bbe3d" providerId="ADAL" clId="{DC65C44D-198F-4C87-9C89-11AF910B9431}" dt="2025-12-03T07:01:00.472" v="2662" actId="1038"/>
          <ac:picMkLst>
            <pc:docMk/>
            <pc:sldMk cId="4112063645" sldId="265"/>
            <ac:picMk id="14" creationId="{DEEFE241-C9D5-3483-0867-E3F797D5E216}"/>
          </ac:picMkLst>
        </pc:picChg>
        <pc:picChg chg="mod">
          <ac:chgData name="Patrick Jaenecke" userId="ba5df79b-7d0b-4e95-94d3-6ae7cd1bbe3d" providerId="ADAL" clId="{DC65C44D-198F-4C87-9C89-11AF910B9431}" dt="2025-12-03T07:01:00.472" v="2662" actId="1038"/>
          <ac:picMkLst>
            <pc:docMk/>
            <pc:sldMk cId="4112063645" sldId="265"/>
            <ac:picMk id="15" creationId="{543ED2CF-E5F3-6F6C-EEC1-2C68599EA61E}"/>
          </ac:picMkLst>
        </pc:picChg>
        <pc:picChg chg="mod modCrop">
          <ac:chgData name="Patrick Jaenecke" userId="ba5df79b-7d0b-4e95-94d3-6ae7cd1bbe3d" providerId="ADAL" clId="{DC65C44D-198F-4C87-9C89-11AF910B9431}" dt="2025-12-03T07:03:04.362" v="2704" actId="732"/>
          <ac:picMkLst>
            <pc:docMk/>
            <pc:sldMk cId="4112063645" sldId="265"/>
            <ac:picMk id="21" creationId="{F7B7ECD7-1EC6-484B-34CE-D61E65A15AA5}"/>
          </ac:picMkLst>
        </pc:picChg>
        <pc:picChg chg="mod">
          <ac:chgData name="Patrick Jaenecke" userId="ba5df79b-7d0b-4e95-94d3-6ae7cd1bbe3d" providerId="ADAL" clId="{DC65C44D-198F-4C87-9C89-11AF910B9431}" dt="2025-12-03T07:05:53.034" v="2770" actId="14100"/>
          <ac:picMkLst>
            <pc:docMk/>
            <pc:sldMk cId="4112063645" sldId="265"/>
            <ac:picMk id="28" creationId="{D66860CE-2829-03E8-1CD2-6944C88C920B}"/>
          </ac:picMkLst>
        </pc:picChg>
        <pc:picChg chg="mod">
          <ac:chgData name="Patrick Jaenecke" userId="ba5df79b-7d0b-4e95-94d3-6ae7cd1bbe3d" providerId="ADAL" clId="{DC65C44D-198F-4C87-9C89-11AF910B9431}" dt="2025-12-03T07:05:58.599" v="2772" actId="1076"/>
          <ac:picMkLst>
            <pc:docMk/>
            <pc:sldMk cId="4112063645" sldId="265"/>
            <ac:picMk id="29" creationId="{36156BA7-641E-256B-B67D-FAC1466E648C}"/>
          </ac:picMkLst>
        </pc:picChg>
        <pc:picChg chg="mod">
          <ac:chgData name="Patrick Jaenecke" userId="ba5df79b-7d0b-4e95-94d3-6ae7cd1bbe3d" providerId="ADAL" clId="{DC65C44D-198F-4C87-9C89-11AF910B9431}" dt="2025-11-30T13:08:30.467" v="2485" actId="14100"/>
          <ac:picMkLst>
            <pc:docMk/>
            <pc:sldMk cId="4112063645" sldId="265"/>
            <ac:picMk id="85" creationId="{261364EE-8973-54B4-92E7-AE872ED1A883}"/>
          </ac:picMkLst>
        </pc:picChg>
        <pc:picChg chg="mod">
          <ac:chgData name="Patrick Jaenecke" userId="ba5df79b-7d0b-4e95-94d3-6ae7cd1bbe3d" providerId="ADAL" clId="{DC65C44D-198F-4C87-9C89-11AF910B9431}" dt="2025-11-30T12:55:39.994" v="2351" actId="1076"/>
          <ac:picMkLst>
            <pc:docMk/>
            <pc:sldMk cId="4112063645" sldId="265"/>
            <ac:picMk id="148" creationId="{8FFFADDE-787D-7398-E524-C6345AEAAA66}"/>
          </ac:picMkLst>
        </pc:picChg>
        <pc:picChg chg="mod">
          <ac:chgData name="Patrick Jaenecke" userId="ba5df79b-7d0b-4e95-94d3-6ae7cd1bbe3d" providerId="ADAL" clId="{DC65C44D-198F-4C87-9C89-11AF910B9431}" dt="2025-11-30T13:38:34.076" v="2626" actId="1036"/>
          <ac:picMkLst>
            <pc:docMk/>
            <pc:sldMk cId="4112063645" sldId="265"/>
            <ac:picMk id="154" creationId="{DAB4441F-571E-4DE1-D72B-85BD6A6BF6FF}"/>
          </ac:picMkLst>
        </pc:picChg>
        <pc:picChg chg="add del mod">
          <ac:chgData name="Patrick Jaenecke" userId="ba5df79b-7d0b-4e95-94d3-6ae7cd1bbe3d" providerId="ADAL" clId="{DC65C44D-198F-4C87-9C89-11AF910B9431}" dt="2025-12-03T07:00:35.694" v="2659" actId="478"/>
          <ac:picMkLst>
            <pc:docMk/>
            <pc:sldMk cId="4112063645" sldId="265"/>
            <ac:picMk id="173" creationId="{F9CEFF73-1997-1511-3D36-01B3EBC2A614}"/>
          </ac:picMkLst>
        </pc:picChg>
        <pc:picChg chg="add del mod">
          <ac:chgData name="Patrick Jaenecke" userId="ba5df79b-7d0b-4e95-94d3-6ae7cd1bbe3d" providerId="ADAL" clId="{DC65C44D-198F-4C87-9C89-11AF910B9431}" dt="2025-12-03T07:00:35.694" v="2659" actId="478"/>
          <ac:picMkLst>
            <pc:docMk/>
            <pc:sldMk cId="4112063645" sldId="265"/>
            <ac:picMk id="174" creationId="{DF8D918C-9FB3-B5A4-34A4-BDBB3699375F}"/>
          </ac:picMkLst>
        </pc:picChg>
        <pc:picChg chg="mod">
          <ac:chgData name="Patrick Jaenecke" userId="ba5df79b-7d0b-4e95-94d3-6ae7cd1bbe3d" providerId="ADAL" clId="{DC65C44D-198F-4C87-9C89-11AF910B9431}" dt="2025-11-30T12:51:56.984" v="2291" actId="1076"/>
          <ac:picMkLst>
            <pc:docMk/>
            <pc:sldMk cId="4112063645" sldId="265"/>
            <ac:picMk id="275" creationId="{8216BE25-288D-A490-32AE-2147E665A4F5}"/>
          </ac:picMkLst>
        </pc:picChg>
        <pc:picChg chg="mod">
          <ac:chgData name="Patrick Jaenecke" userId="ba5df79b-7d0b-4e95-94d3-6ae7cd1bbe3d" providerId="ADAL" clId="{DC65C44D-198F-4C87-9C89-11AF910B9431}" dt="2025-11-30T12:52:51.741" v="2303" actId="165"/>
          <ac:picMkLst>
            <pc:docMk/>
            <pc:sldMk cId="4112063645" sldId="265"/>
            <ac:picMk id="277" creationId="{A03608F6-F961-C6AC-34CA-0A932B2D1C14}"/>
          </ac:picMkLst>
        </pc:picChg>
        <pc:picChg chg="add mod ord">
          <ac:chgData name="Patrick Jaenecke" userId="ba5df79b-7d0b-4e95-94d3-6ae7cd1bbe3d" providerId="ADAL" clId="{DC65C44D-198F-4C87-9C89-11AF910B9431}" dt="2025-11-30T13:38:40.423" v="2633" actId="1036"/>
          <ac:picMkLst>
            <pc:docMk/>
            <pc:sldMk cId="4112063645" sldId="265"/>
            <ac:picMk id="287" creationId="{4D2AB029-4B41-E7F0-9B2B-B6913472F90D}"/>
          </ac:picMkLst>
        </pc:picChg>
        <pc:picChg chg="mod">
          <ac:chgData name="Patrick Jaenecke" userId="ba5df79b-7d0b-4e95-94d3-6ae7cd1bbe3d" providerId="ADAL" clId="{DC65C44D-198F-4C87-9C89-11AF910B9431}" dt="2025-11-30T13:39:26.316" v="2643" actId="1076"/>
          <ac:picMkLst>
            <pc:docMk/>
            <pc:sldMk cId="4112063645" sldId="265"/>
            <ac:picMk id="343" creationId="{50146E4A-9210-ED5F-6DA6-6AA9EEF9F8BA}"/>
          </ac:picMkLst>
        </pc:picChg>
        <pc:picChg chg="mod">
          <ac:chgData name="Patrick Jaenecke" userId="ba5df79b-7d0b-4e95-94d3-6ae7cd1bbe3d" providerId="ADAL" clId="{DC65C44D-198F-4C87-9C89-11AF910B9431}" dt="2025-11-30T13:39:26.316" v="2643" actId="1076"/>
          <ac:picMkLst>
            <pc:docMk/>
            <pc:sldMk cId="4112063645" sldId="265"/>
            <ac:picMk id="344" creationId="{D5661E8C-7690-63DF-D875-081178097C2F}"/>
          </ac:picMkLst>
        </pc:picChg>
        <pc:cxnChg chg="mod">
          <ac:chgData name="Patrick Jaenecke" userId="ba5df79b-7d0b-4e95-94d3-6ae7cd1bbe3d" providerId="ADAL" clId="{DC65C44D-198F-4C87-9C89-11AF910B9431}" dt="2025-11-30T13:37:12.568" v="2565" actId="1038"/>
          <ac:cxnSpMkLst>
            <pc:docMk/>
            <pc:sldMk cId="4112063645" sldId="265"/>
            <ac:cxnSpMk id="162" creationId="{4C1E8F49-3B02-67CC-684E-53AA91F3B104}"/>
          </ac:cxnSpMkLst>
        </pc:cxnChg>
      </pc:sldChg>
      <pc:sldChg chg="addSp delSp modSp add mod modAnim">
        <pc:chgData name="Patrick Jaenecke" userId="ba5df79b-7d0b-4e95-94d3-6ae7cd1bbe3d" providerId="ADAL" clId="{DC65C44D-198F-4C87-9C89-11AF910B9431}" dt="2025-12-03T15:32:33.652" v="3817" actId="20577"/>
        <pc:sldMkLst>
          <pc:docMk/>
          <pc:sldMk cId="2611591563" sldId="266"/>
        </pc:sldMkLst>
        <pc:spChg chg="mod">
          <ac:chgData name="Patrick Jaenecke" userId="ba5df79b-7d0b-4e95-94d3-6ae7cd1bbe3d" providerId="ADAL" clId="{DC65C44D-198F-4C87-9C89-11AF910B9431}" dt="2025-12-03T15:12:25.483" v="3758"/>
          <ac:spMkLst>
            <pc:docMk/>
            <pc:sldMk cId="2611591563" sldId="266"/>
            <ac:spMk id="2" creationId="{CD2100B9-E636-1B8F-6EDE-AD4E9ADECA64}"/>
          </ac:spMkLst>
        </pc:spChg>
        <pc:spChg chg="mod">
          <ac:chgData name="Patrick Jaenecke" userId="ba5df79b-7d0b-4e95-94d3-6ae7cd1bbe3d" providerId="ADAL" clId="{DC65C44D-198F-4C87-9C89-11AF910B9431}" dt="2025-12-03T11:19:45.461" v="3574"/>
          <ac:spMkLst>
            <pc:docMk/>
            <pc:sldMk cId="2611591563" sldId="266"/>
            <ac:spMk id="17" creationId="{6C516D21-45A5-239A-8692-16D4FEE7EF25}"/>
          </ac:spMkLst>
        </pc:spChg>
        <pc:spChg chg="mod">
          <ac:chgData name="Patrick Jaenecke" userId="ba5df79b-7d0b-4e95-94d3-6ae7cd1bbe3d" providerId="ADAL" clId="{DC65C44D-198F-4C87-9C89-11AF910B9431}" dt="2025-12-03T12:39:01.975" v="3740" actId="403"/>
          <ac:spMkLst>
            <pc:docMk/>
            <pc:sldMk cId="2611591563" sldId="266"/>
            <ac:spMk id="18" creationId="{F9D794F8-7EB2-2B07-17C8-8019B15CD8F0}"/>
          </ac:spMkLst>
        </pc:spChg>
        <pc:spChg chg="add mod">
          <ac:chgData name="Patrick Jaenecke" userId="ba5df79b-7d0b-4e95-94d3-6ae7cd1bbe3d" providerId="ADAL" clId="{DC65C44D-198F-4C87-9C89-11AF910B9431}" dt="2025-12-03T15:21:48.566" v="3805" actId="207"/>
          <ac:spMkLst>
            <pc:docMk/>
            <pc:sldMk cId="2611591563" sldId="266"/>
            <ac:spMk id="24" creationId="{0A2DD4E0-4203-29A5-6F7E-3C8F9494A6D5}"/>
          </ac:spMkLst>
        </pc:spChg>
        <pc:spChg chg="mod">
          <ac:chgData name="Patrick Jaenecke" userId="ba5df79b-7d0b-4e95-94d3-6ae7cd1bbe3d" providerId="ADAL" clId="{DC65C44D-198F-4C87-9C89-11AF910B9431}" dt="2025-12-03T12:39:11.532" v="3743" actId="255"/>
          <ac:spMkLst>
            <pc:docMk/>
            <pc:sldMk cId="2611591563" sldId="266"/>
            <ac:spMk id="25" creationId="{AB62E61E-9E43-CB51-BC6B-0A65B426E713}"/>
          </ac:spMkLst>
        </pc:spChg>
        <pc:spChg chg="mod">
          <ac:chgData name="Patrick Jaenecke" userId="ba5df79b-7d0b-4e95-94d3-6ae7cd1bbe3d" providerId="ADAL" clId="{DC65C44D-198F-4C87-9C89-11AF910B9431}" dt="2025-12-03T11:19:32.238" v="3570"/>
          <ac:spMkLst>
            <pc:docMk/>
            <pc:sldMk cId="2611591563" sldId="266"/>
            <ac:spMk id="31" creationId="{33F1D5CB-E365-0D6F-5A72-725C2B6B0C8B}"/>
          </ac:spMkLst>
        </pc:spChg>
        <pc:spChg chg="mod">
          <ac:chgData name="Patrick Jaenecke" userId="ba5df79b-7d0b-4e95-94d3-6ae7cd1bbe3d" providerId="ADAL" clId="{DC65C44D-198F-4C87-9C89-11AF910B9431}" dt="2025-12-03T11:10:56.495" v="3318" actId="207"/>
          <ac:spMkLst>
            <pc:docMk/>
            <pc:sldMk cId="2611591563" sldId="266"/>
            <ac:spMk id="34" creationId="{A035DAE5-1E82-5C7F-11CF-F74DF4B733C8}"/>
          </ac:spMkLst>
        </pc:spChg>
        <pc:spChg chg="add mod">
          <ac:chgData name="Patrick Jaenecke" userId="ba5df79b-7d0b-4e95-94d3-6ae7cd1bbe3d" providerId="ADAL" clId="{DC65C44D-198F-4C87-9C89-11AF910B9431}" dt="2025-12-03T15:22:03.775" v="3809" actId="14100"/>
          <ac:spMkLst>
            <pc:docMk/>
            <pc:sldMk cId="2611591563" sldId="266"/>
            <ac:spMk id="34" creationId="{E6EED51E-2608-D3E0-0655-809BA38E34AB}"/>
          </ac:spMkLst>
        </pc:spChg>
        <pc:spChg chg="mod">
          <ac:chgData name="Patrick Jaenecke" userId="ba5df79b-7d0b-4e95-94d3-6ae7cd1bbe3d" providerId="ADAL" clId="{DC65C44D-198F-4C87-9C89-11AF910B9431}" dt="2025-12-03T12:39:07.140" v="3742" actId="403"/>
          <ac:spMkLst>
            <pc:docMk/>
            <pc:sldMk cId="2611591563" sldId="266"/>
            <ac:spMk id="36" creationId="{BB2F0CFB-11B7-1B61-A4C9-F0028D797692}"/>
          </ac:spMkLst>
        </pc:spChg>
        <pc:spChg chg="add mod">
          <ac:chgData name="Patrick Jaenecke" userId="ba5df79b-7d0b-4e95-94d3-6ae7cd1bbe3d" providerId="ADAL" clId="{DC65C44D-198F-4C87-9C89-11AF910B9431}" dt="2025-12-03T15:22:14.157" v="3813" actId="1076"/>
          <ac:spMkLst>
            <pc:docMk/>
            <pc:sldMk cId="2611591563" sldId="266"/>
            <ac:spMk id="37" creationId="{177BBC31-8904-CE5C-BE87-03EBA1862008}"/>
          </ac:spMkLst>
        </pc:spChg>
        <pc:spChg chg="mod">
          <ac:chgData name="Patrick Jaenecke" userId="ba5df79b-7d0b-4e95-94d3-6ae7cd1bbe3d" providerId="ADAL" clId="{DC65C44D-198F-4C87-9C89-11AF910B9431}" dt="2025-12-03T11:10:56.131" v="3310" actId="1582"/>
          <ac:spMkLst>
            <pc:docMk/>
            <pc:sldMk cId="2611591563" sldId="266"/>
            <ac:spMk id="37" creationId="{5DBD59AF-736D-31E2-E65F-EFB7845A3468}"/>
          </ac:spMkLst>
        </pc:spChg>
        <pc:spChg chg="mod">
          <ac:chgData name="Patrick Jaenecke" userId="ba5df79b-7d0b-4e95-94d3-6ae7cd1bbe3d" providerId="ADAL" clId="{DC65C44D-198F-4C87-9C89-11AF910B9431}" dt="2025-12-03T11:10:56.133" v="3317"/>
          <ac:spMkLst>
            <pc:docMk/>
            <pc:sldMk cId="2611591563" sldId="266"/>
            <ac:spMk id="39" creationId="{64C7B061-3FBE-68BA-A6D4-C71DE3BACBCF}"/>
          </ac:spMkLst>
        </pc:spChg>
        <pc:spChg chg="mod">
          <ac:chgData name="Patrick Jaenecke" userId="ba5df79b-7d0b-4e95-94d3-6ae7cd1bbe3d" providerId="ADAL" clId="{DC65C44D-198F-4C87-9C89-11AF910B9431}" dt="2025-12-03T11:10:56.133" v="3317"/>
          <ac:spMkLst>
            <pc:docMk/>
            <pc:sldMk cId="2611591563" sldId="266"/>
            <ac:spMk id="41" creationId="{2D8967BC-74FF-A69D-225E-B18467EFD52D}"/>
          </ac:spMkLst>
        </pc:spChg>
        <pc:spChg chg="mod">
          <ac:chgData name="Patrick Jaenecke" userId="ba5df79b-7d0b-4e95-94d3-6ae7cd1bbe3d" providerId="ADAL" clId="{DC65C44D-198F-4C87-9C89-11AF910B9431}" dt="2025-12-03T11:10:56.133" v="3317"/>
          <ac:spMkLst>
            <pc:docMk/>
            <pc:sldMk cId="2611591563" sldId="266"/>
            <ac:spMk id="42" creationId="{6B957662-409C-17DE-D55D-EF25079221E1}"/>
          </ac:spMkLst>
        </pc:spChg>
        <pc:spChg chg="mod">
          <ac:chgData name="Patrick Jaenecke" userId="ba5df79b-7d0b-4e95-94d3-6ae7cd1bbe3d" providerId="ADAL" clId="{DC65C44D-198F-4C87-9C89-11AF910B9431}" dt="2025-12-03T11:19:07.761" v="3550" actId="1036"/>
          <ac:spMkLst>
            <pc:docMk/>
            <pc:sldMk cId="2611591563" sldId="266"/>
            <ac:spMk id="43" creationId="{CBBB8AF9-9782-64BF-37E0-9B83D7D05E5E}"/>
          </ac:spMkLst>
        </pc:spChg>
        <pc:spChg chg="mod">
          <ac:chgData name="Patrick Jaenecke" userId="ba5df79b-7d0b-4e95-94d3-6ae7cd1bbe3d" providerId="ADAL" clId="{DC65C44D-198F-4C87-9C89-11AF910B9431}" dt="2025-12-03T11:19:07.761" v="3550" actId="1036"/>
          <ac:spMkLst>
            <pc:docMk/>
            <pc:sldMk cId="2611591563" sldId="266"/>
            <ac:spMk id="44" creationId="{F4FAC9B2-310D-CCF3-9AC8-66BC8886A723}"/>
          </ac:spMkLst>
        </pc:spChg>
        <pc:spChg chg="mod">
          <ac:chgData name="Patrick Jaenecke" userId="ba5df79b-7d0b-4e95-94d3-6ae7cd1bbe3d" providerId="ADAL" clId="{DC65C44D-198F-4C87-9C89-11AF910B9431}" dt="2025-12-03T11:10:56.133" v="3317"/>
          <ac:spMkLst>
            <pc:docMk/>
            <pc:sldMk cId="2611591563" sldId="266"/>
            <ac:spMk id="46" creationId="{B7936721-D111-7FA8-8643-9E4331883EE4}"/>
          </ac:spMkLst>
        </pc:spChg>
        <pc:spChg chg="mod">
          <ac:chgData name="Patrick Jaenecke" userId="ba5df79b-7d0b-4e95-94d3-6ae7cd1bbe3d" providerId="ADAL" clId="{DC65C44D-198F-4C87-9C89-11AF910B9431}" dt="2025-12-03T11:19:45.459" v="3572"/>
          <ac:spMkLst>
            <pc:docMk/>
            <pc:sldMk cId="2611591563" sldId="266"/>
            <ac:spMk id="47" creationId="{8251082C-97CE-547E-B696-4AA55AED587F}"/>
          </ac:spMkLst>
        </pc:spChg>
        <pc:spChg chg="mod">
          <ac:chgData name="Patrick Jaenecke" userId="ba5df79b-7d0b-4e95-94d3-6ae7cd1bbe3d" providerId="ADAL" clId="{DC65C44D-198F-4C87-9C89-11AF910B9431}" dt="2025-12-03T11:20:15.747" v="3584"/>
          <ac:spMkLst>
            <pc:docMk/>
            <pc:sldMk cId="2611591563" sldId="266"/>
            <ac:spMk id="48" creationId="{B929C4BB-696A-03EB-0369-0B66A8B7B4E8}"/>
          </ac:spMkLst>
        </pc:spChg>
        <pc:spChg chg="mod">
          <ac:chgData name="Patrick Jaenecke" userId="ba5df79b-7d0b-4e95-94d3-6ae7cd1bbe3d" providerId="ADAL" clId="{DC65C44D-198F-4C87-9C89-11AF910B9431}" dt="2025-12-03T11:10:56.114" v="3277" actId="1582"/>
          <ac:spMkLst>
            <pc:docMk/>
            <pc:sldMk cId="2611591563" sldId="266"/>
            <ac:spMk id="49" creationId="{D1F27F13-7E9B-AAA6-E6DF-E6680CBBFCBF}"/>
          </ac:spMkLst>
        </pc:spChg>
        <pc:spChg chg="mod">
          <ac:chgData name="Patrick Jaenecke" userId="ba5df79b-7d0b-4e95-94d3-6ae7cd1bbe3d" providerId="ADAL" clId="{DC65C44D-198F-4C87-9C89-11AF910B9431}" dt="2025-12-03T11:19:07.761" v="3550" actId="1036"/>
          <ac:spMkLst>
            <pc:docMk/>
            <pc:sldMk cId="2611591563" sldId="266"/>
            <ac:spMk id="51" creationId="{2581C2FA-63DA-45C5-324C-F99670E14549}"/>
          </ac:spMkLst>
        </pc:spChg>
        <pc:spChg chg="mod">
          <ac:chgData name="Patrick Jaenecke" userId="ba5df79b-7d0b-4e95-94d3-6ae7cd1bbe3d" providerId="ADAL" clId="{DC65C44D-198F-4C87-9C89-11AF910B9431}" dt="2025-12-03T11:10:56.133" v="3317"/>
          <ac:spMkLst>
            <pc:docMk/>
            <pc:sldMk cId="2611591563" sldId="266"/>
            <ac:spMk id="53" creationId="{BDD51A6E-7988-B709-8B49-E596E18B685E}"/>
          </ac:spMkLst>
        </pc:spChg>
        <pc:spChg chg="mod">
          <ac:chgData name="Patrick Jaenecke" userId="ba5df79b-7d0b-4e95-94d3-6ae7cd1bbe3d" providerId="ADAL" clId="{DC65C44D-198F-4C87-9C89-11AF910B9431}" dt="2025-12-03T11:10:56.110" v="3259" actId="947"/>
          <ac:spMkLst>
            <pc:docMk/>
            <pc:sldMk cId="2611591563" sldId="266"/>
            <ac:spMk id="60" creationId="{10DE7009-D229-C062-46F9-721605134979}"/>
          </ac:spMkLst>
        </pc:spChg>
        <pc:spChg chg="mod">
          <ac:chgData name="Patrick Jaenecke" userId="ba5df79b-7d0b-4e95-94d3-6ae7cd1bbe3d" providerId="ADAL" clId="{DC65C44D-198F-4C87-9C89-11AF910B9431}" dt="2025-12-03T11:10:56.103" v="3232" actId="1582"/>
          <ac:spMkLst>
            <pc:docMk/>
            <pc:sldMk cId="2611591563" sldId="266"/>
            <ac:spMk id="63" creationId="{54F67CA0-6FE3-E6E4-26A1-0882E9F304FC}"/>
          </ac:spMkLst>
        </pc:spChg>
        <pc:spChg chg="mod">
          <ac:chgData name="Patrick Jaenecke" userId="ba5df79b-7d0b-4e95-94d3-6ae7cd1bbe3d" providerId="ADAL" clId="{DC65C44D-198F-4C87-9C89-11AF910B9431}" dt="2025-12-03T11:10:56.133" v="3317"/>
          <ac:spMkLst>
            <pc:docMk/>
            <pc:sldMk cId="2611591563" sldId="266"/>
            <ac:spMk id="64" creationId="{C7E3779E-284B-4517-5BE1-964D4FF04780}"/>
          </ac:spMkLst>
        </pc:spChg>
        <pc:spChg chg="mod">
          <ac:chgData name="Patrick Jaenecke" userId="ba5df79b-7d0b-4e95-94d3-6ae7cd1bbe3d" providerId="ADAL" clId="{DC65C44D-198F-4C87-9C89-11AF910B9431}" dt="2025-12-03T11:10:56.133" v="3317"/>
          <ac:spMkLst>
            <pc:docMk/>
            <pc:sldMk cId="2611591563" sldId="266"/>
            <ac:spMk id="65" creationId="{071A5E2C-609F-FF93-45B3-8D87B61E3AEA}"/>
          </ac:spMkLst>
        </pc:spChg>
        <pc:spChg chg="mod">
          <ac:chgData name="Patrick Jaenecke" userId="ba5df79b-7d0b-4e95-94d3-6ae7cd1bbe3d" providerId="ADAL" clId="{DC65C44D-198F-4C87-9C89-11AF910B9431}" dt="2025-12-03T11:10:56.133" v="3317"/>
          <ac:spMkLst>
            <pc:docMk/>
            <pc:sldMk cId="2611591563" sldId="266"/>
            <ac:spMk id="67" creationId="{5BAA7FC1-7203-D5F2-FF21-AFDFB715FEA6}"/>
          </ac:spMkLst>
        </pc:spChg>
        <pc:spChg chg="mod">
          <ac:chgData name="Patrick Jaenecke" userId="ba5df79b-7d0b-4e95-94d3-6ae7cd1bbe3d" providerId="ADAL" clId="{DC65C44D-198F-4C87-9C89-11AF910B9431}" dt="2025-12-03T11:10:56.133" v="3317"/>
          <ac:spMkLst>
            <pc:docMk/>
            <pc:sldMk cId="2611591563" sldId="266"/>
            <ac:spMk id="68" creationId="{D0BDD62A-5CB6-EDA3-D325-103D33F4AB57}"/>
          </ac:spMkLst>
        </pc:spChg>
        <pc:spChg chg="mod">
          <ac:chgData name="Patrick Jaenecke" userId="ba5df79b-7d0b-4e95-94d3-6ae7cd1bbe3d" providerId="ADAL" clId="{DC65C44D-198F-4C87-9C89-11AF910B9431}" dt="2025-12-03T11:10:56.133" v="3317"/>
          <ac:spMkLst>
            <pc:docMk/>
            <pc:sldMk cId="2611591563" sldId="266"/>
            <ac:spMk id="69" creationId="{9B4CBA2B-5FEE-EF3B-73CB-951068B456FE}"/>
          </ac:spMkLst>
        </pc:spChg>
        <pc:spChg chg="mod">
          <ac:chgData name="Patrick Jaenecke" userId="ba5df79b-7d0b-4e95-94d3-6ae7cd1bbe3d" providerId="ADAL" clId="{DC65C44D-198F-4C87-9C89-11AF910B9431}" dt="2025-12-03T12:37:38.994" v="3639" actId="165"/>
          <ac:spMkLst>
            <pc:docMk/>
            <pc:sldMk cId="2611591563" sldId="266"/>
            <ac:spMk id="72" creationId="{6175406B-BCEA-D0E4-F13E-493BF856AC11}"/>
          </ac:spMkLst>
        </pc:spChg>
        <pc:spChg chg="mod">
          <ac:chgData name="Patrick Jaenecke" userId="ba5df79b-7d0b-4e95-94d3-6ae7cd1bbe3d" providerId="ADAL" clId="{DC65C44D-198F-4C87-9C89-11AF910B9431}" dt="2025-12-03T11:21:32.849" v="3597" actId="1076"/>
          <ac:spMkLst>
            <pc:docMk/>
            <pc:sldMk cId="2611591563" sldId="266"/>
            <ac:spMk id="73" creationId="{FD7214EA-BC64-CC20-ACD2-AD9C48EC63E6}"/>
          </ac:spMkLst>
        </pc:spChg>
        <pc:spChg chg="mod">
          <ac:chgData name="Patrick Jaenecke" userId="ba5df79b-7d0b-4e95-94d3-6ae7cd1bbe3d" providerId="ADAL" clId="{DC65C44D-198F-4C87-9C89-11AF910B9431}" dt="2025-12-03T11:17:33.753" v="3501" actId="403"/>
          <ac:spMkLst>
            <pc:docMk/>
            <pc:sldMk cId="2611591563" sldId="266"/>
            <ac:spMk id="75" creationId="{8272A757-A5D4-01A5-842D-9306A8380C7F}"/>
          </ac:spMkLst>
        </pc:spChg>
        <pc:spChg chg="mod">
          <ac:chgData name="Patrick Jaenecke" userId="ba5df79b-7d0b-4e95-94d3-6ae7cd1bbe3d" providerId="ADAL" clId="{DC65C44D-198F-4C87-9C89-11AF910B9431}" dt="2025-12-03T12:39:43.925" v="3755" actId="1076"/>
          <ac:spMkLst>
            <pc:docMk/>
            <pc:sldMk cId="2611591563" sldId="266"/>
            <ac:spMk id="77" creationId="{3DB55C0C-9C8C-50AA-C4F1-8BBF10F605A1}"/>
          </ac:spMkLst>
        </pc:spChg>
        <pc:spChg chg="mod">
          <ac:chgData name="Patrick Jaenecke" userId="ba5df79b-7d0b-4e95-94d3-6ae7cd1bbe3d" providerId="ADAL" clId="{DC65C44D-198F-4C87-9C89-11AF910B9431}" dt="2025-12-03T12:37:38.994" v="3639" actId="165"/>
          <ac:spMkLst>
            <pc:docMk/>
            <pc:sldMk cId="2611591563" sldId="266"/>
            <ac:spMk id="78" creationId="{36754639-D500-D122-B7F9-2C98A16E72E5}"/>
          </ac:spMkLst>
        </pc:spChg>
        <pc:spChg chg="mod">
          <ac:chgData name="Patrick Jaenecke" userId="ba5df79b-7d0b-4e95-94d3-6ae7cd1bbe3d" providerId="ADAL" clId="{DC65C44D-198F-4C87-9C89-11AF910B9431}" dt="2025-12-03T11:12:04.039" v="3362" actId="299"/>
          <ac:spMkLst>
            <pc:docMk/>
            <pc:sldMk cId="2611591563" sldId="266"/>
            <ac:spMk id="80" creationId="{D572CE3C-4F41-DAE1-B48B-598CB897B906}"/>
          </ac:spMkLst>
        </pc:spChg>
        <pc:spChg chg="mod">
          <ac:chgData name="Patrick Jaenecke" userId="ba5df79b-7d0b-4e95-94d3-6ae7cd1bbe3d" providerId="ADAL" clId="{DC65C44D-198F-4C87-9C89-11AF910B9431}" dt="2025-12-03T11:12:04.043" v="3367" actId="299"/>
          <ac:spMkLst>
            <pc:docMk/>
            <pc:sldMk cId="2611591563" sldId="266"/>
            <ac:spMk id="81" creationId="{E090B8CD-15E4-8A03-FF80-006EEA72EAAD}"/>
          </ac:spMkLst>
        </pc:spChg>
        <pc:spChg chg="mod">
          <ac:chgData name="Patrick Jaenecke" userId="ba5df79b-7d0b-4e95-94d3-6ae7cd1bbe3d" providerId="ADAL" clId="{DC65C44D-198F-4C87-9C89-11AF910B9431}" dt="2025-12-03T11:17:30.880" v="3499" actId="403"/>
          <ac:spMkLst>
            <pc:docMk/>
            <pc:sldMk cId="2611591563" sldId="266"/>
            <ac:spMk id="82" creationId="{EFB26838-7F6E-EDCE-E946-B76C9A0025F1}"/>
          </ac:spMkLst>
        </pc:spChg>
        <pc:spChg chg="mod">
          <ac:chgData name="Patrick Jaenecke" userId="ba5df79b-7d0b-4e95-94d3-6ae7cd1bbe3d" providerId="ADAL" clId="{DC65C44D-198F-4C87-9C89-11AF910B9431}" dt="2025-12-03T12:37:38.994" v="3639" actId="165"/>
          <ac:spMkLst>
            <pc:docMk/>
            <pc:sldMk cId="2611591563" sldId="266"/>
            <ac:spMk id="122" creationId="{561A0ECD-5750-31FA-E980-A13C49A90E46}"/>
          </ac:spMkLst>
        </pc:spChg>
        <pc:spChg chg="mod">
          <ac:chgData name="Patrick Jaenecke" userId="ba5df79b-7d0b-4e95-94d3-6ae7cd1bbe3d" providerId="ADAL" clId="{DC65C44D-198F-4C87-9C89-11AF910B9431}" dt="2025-12-03T12:37:38.994" v="3639" actId="165"/>
          <ac:spMkLst>
            <pc:docMk/>
            <pc:sldMk cId="2611591563" sldId="266"/>
            <ac:spMk id="129" creationId="{1ED6AC2F-457C-2952-717B-0651E99B193E}"/>
          </ac:spMkLst>
        </pc:spChg>
        <pc:spChg chg="mod">
          <ac:chgData name="Patrick Jaenecke" userId="ba5df79b-7d0b-4e95-94d3-6ae7cd1bbe3d" providerId="ADAL" clId="{DC65C44D-198F-4C87-9C89-11AF910B9431}" dt="2025-12-03T12:37:38.994" v="3639" actId="165"/>
          <ac:spMkLst>
            <pc:docMk/>
            <pc:sldMk cId="2611591563" sldId="266"/>
            <ac:spMk id="130" creationId="{6F091FE2-54A9-5AB0-96AB-9035355299F1}"/>
          </ac:spMkLst>
        </pc:spChg>
        <pc:spChg chg="mod">
          <ac:chgData name="Patrick Jaenecke" userId="ba5df79b-7d0b-4e95-94d3-6ae7cd1bbe3d" providerId="ADAL" clId="{DC65C44D-198F-4C87-9C89-11AF910B9431}" dt="2025-12-03T12:37:38.994" v="3639" actId="165"/>
          <ac:spMkLst>
            <pc:docMk/>
            <pc:sldMk cId="2611591563" sldId="266"/>
            <ac:spMk id="132" creationId="{F6AA07B3-7D1F-F920-762F-7C3576AFC18E}"/>
          </ac:spMkLst>
        </pc:spChg>
        <pc:spChg chg="mod">
          <ac:chgData name="Patrick Jaenecke" userId="ba5df79b-7d0b-4e95-94d3-6ae7cd1bbe3d" providerId="ADAL" clId="{DC65C44D-198F-4C87-9C89-11AF910B9431}" dt="2025-12-03T11:12:04.065" v="3392" actId="299"/>
          <ac:spMkLst>
            <pc:docMk/>
            <pc:sldMk cId="2611591563" sldId="266"/>
            <ac:spMk id="137" creationId="{94A74218-32D5-4028-4231-5BE86C13338D}"/>
          </ac:spMkLst>
        </pc:spChg>
        <pc:spChg chg="mod">
          <ac:chgData name="Patrick Jaenecke" userId="ba5df79b-7d0b-4e95-94d3-6ae7cd1bbe3d" providerId="ADAL" clId="{DC65C44D-198F-4C87-9C89-11AF910B9431}" dt="2025-12-03T12:37:38.994" v="3639" actId="165"/>
          <ac:spMkLst>
            <pc:docMk/>
            <pc:sldMk cId="2611591563" sldId="266"/>
            <ac:spMk id="139" creationId="{23A09BA5-6A92-A39A-C9A1-9BAF703E13AB}"/>
          </ac:spMkLst>
        </pc:spChg>
        <pc:spChg chg="mod">
          <ac:chgData name="Patrick Jaenecke" userId="ba5df79b-7d0b-4e95-94d3-6ae7cd1bbe3d" providerId="ADAL" clId="{DC65C44D-198F-4C87-9C89-11AF910B9431}" dt="2025-12-03T12:37:38.994" v="3639" actId="165"/>
          <ac:spMkLst>
            <pc:docMk/>
            <pc:sldMk cId="2611591563" sldId="266"/>
            <ac:spMk id="140" creationId="{DE60893B-8E53-24F7-6167-9C1D418AF7A5}"/>
          </ac:spMkLst>
        </pc:spChg>
        <pc:spChg chg="add mod topLvl">
          <ac:chgData name="Patrick Jaenecke" userId="ba5df79b-7d0b-4e95-94d3-6ae7cd1bbe3d" providerId="ADAL" clId="{DC65C44D-198F-4C87-9C89-11AF910B9431}" dt="2025-12-03T12:39:23.688" v="3753" actId="1036"/>
          <ac:spMkLst>
            <pc:docMk/>
            <pc:sldMk cId="2611591563" sldId="266"/>
            <ac:spMk id="142" creationId="{D58A9A04-3CFA-74C3-CD7E-4686482A67C1}"/>
          </ac:spMkLst>
        </pc:spChg>
        <pc:spChg chg="add mod">
          <ac:chgData name="Patrick Jaenecke" userId="ba5df79b-7d0b-4e95-94d3-6ae7cd1bbe3d" providerId="ADAL" clId="{DC65C44D-198F-4C87-9C89-11AF910B9431}" dt="2025-12-03T12:39:23.688" v="3753" actId="1036"/>
          <ac:spMkLst>
            <pc:docMk/>
            <pc:sldMk cId="2611591563" sldId="266"/>
            <ac:spMk id="145" creationId="{176DA749-BB65-DA2A-7717-C00E2A1C3ABE}"/>
          </ac:spMkLst>
        </pc:spChg>
        <pc:spChg chg="mod">
          <ac:chgData name="Patrick Jaenecke" userId="ba5df79b-7d0b-4e95-94d3-6ae7cd1bbe3d" providerId="ADAL" clId="{DC65C44D-198F-4C87-9C89-11AF910B9431}" dt="2025-12-03T11:18:30.287" v="3521" actId="1035"/>
          <ac:spMkLst>
            <pc:docMk/>
            <pc:sldMk cId="2611591563" sldId="266"/>
            <ac:spMk id="150" creationId="{0C9E8631-F1D9-474C-ECCD-BF6AB0A5B7E6}"/>
          </ac:spMkLst>
        </pc:spChg>
        <pc:spChg chg="mod">
          <ac:chgData name="Patrick Jaenecke" userId="ba5df79b-7d0b-4e95-94d3-6ae7cd1bbe3d" providerId="ADAL" clId="{DC65C44D-198F-4C87-9C89-11AF910B9431}" dt="2025-12-03T15:32:33.652" v="3817" actId="20577"/>
          <ac:spMkLst>
            <pc:docMk/>
            <pc:sldMk cId="2611591563" sldId="266"/>
            <ac:spMk id="153" creationId="{61802D36-A44F-262C-559E-62CDCB335D10}"/>
          </ac:spMkLst>
        </pc:spChg>
        <pc:spChg chg="mod">
          <ac:chgData name="Patrick Jaenecke" userId="ba5df79b-7d0b-4e95-94d3-6ae7cd1bbe3d" providerId="ADAL" clId="{DC65C44D-198F-4C87-9C89-11AF910B9431}" dt="2025-12-03T11:19:07.761" v="3550" actId="1036"/>
          <ac:spMkLst>
            <pc:docMk/>
            <pc:sldMk cId="2611591563" sldId="266"/>
            <ac:spMk id="155" creationId="{A6103549-E6CE-FAAA-CAA5-1666472EE867}"/>
          </ac:spMkLst>
        </pc:spChg>
        <pc:spChg chg="mod">
          <ac:chgData name="Patrick Jaenecke" userId="ba5df79b-7d0b-4e95-94d3-6ae7cd1bbe3d" providerId="ADAL" clId="{DC65C44D-198F-4C87-9C89-11AF910B9431}" dt="2025-12-03T11:19:07.761" v="3550" actId="1036"/>
          <ac:spMkLst>
            <pc:docMk/>
            <pc:sldMk cId="2611591563" sldId="266"/>
            <ac:spMk id="157" creationId="{E4B815CD-BAFA-C773-C9DF-42A6EBBF8D94}"/>
          </ac:spMkLst>
        </pc:spChg>
        <pc:spChg chg="mod">
          <ac:chgData name="Patrick Jaenecke" userId="ba5df79b-7d0b-4e95-94d3-6ae7cd1bbe3d" providerId="ADAL" clId="{DC65C44D-198F-4C87-9C89-11AF910B9431}" dt="2025-12-03T11:18:34.926" v="3529" actId="1036"/>
          <ac:spMkLst>
            <pc:docMk/>
            <pc:sldMk cId="2611591563" sldId="266"/>
            <ac:spMk id="260" creationId="{F6D40B12-3AB3-2575-3260-319876A383B9}"/>
          </ac:spMkLst>
        </pc:spChg>
        <pc:spChg chg="mod">
          <ac:chgData name="Patrick Jaenecke" userId="ba5df79b-7d0b-4e95-94d3-6ae7cd1bbe3d" providerId="ADAL" clId="{DC65C44D-198F-4C87-9C89-11AF910B9431}" dt="2025-12-03T11:09:28.957" v="3061" actId="1076"/>
          <ac:spMkLst>
            <pc:docMk/>
            <pc:sldMk cId="2611591563" sldId="266"/>
            <ac:spMk id="346" creationId="{D57B582C-D067-7FBA-E8BF-0C136FD3A389}"/>
          </ac:spMkLst>
        </pc:spChg>
        <pc:grpChg chg="mod">
          <ac:chgData name="Patrick Jaenecke" userId="ba5df79b-7d0b-4e95-94d3-6ae7cd1bbe3d" providerId="ADAL" clId="{DC65C44D-198F-4C87-9C89-11AF910B9431}" dt="2025-12-03T11:10:57.456" v="3320" actId="1076"/>
          <ac:grpSpMkLst>
            <pc:docMk/>
            <pc:sldMk cId="2611591563" sldId="266"/>
            <ac:grpSpMk id="24" creationId="{9AD1B43F-5AB0-E100-4268-5CE9D30551DC}"/>
          </ac:grpSpMkLst>
        </pc:grpChg>
        <pc:grpChg chg="mod">
          <ac:chgData name="Patrick Jaenecke" userId="ba5df79b-7d0b-4e95-94d3-6ae7cd1bbe3d" providerId="ADAL" clId="{DC65C44D-198F-4C87-9C89-11AF910B9431}" dt="2025-12-03T15:16:14.062" v="3763" actId="1035"/>
          <ac:grpSpMkLst>
            <pc:docMk/>
            <pc:sldMk cId="2611591563" sldId="266"/>
            <ac:grpSpMk id="27" creationId="{8785FDC0-5B79-7BE4-6BEB-11227CD08EF9}"/>
          </ac:grpSpMkLst>
        </pc:grpChg>
        <pc:grpChg chg="mod">
          <ac:chgData name="Patrick Jaenecke" userId="ba5df79b-7d0b-4e95-94d3-6ae7cd1bbe3d" providerId="ADAL" clId="{DC65C44D-198F-4C87-9C89-11AF910B9431}" dt="2025-12-03T12:39:23.688" v="3753" actId="1036"/>
          <ac:grpSpMkLst>
            <pc:docMk/>
            <pc:sldMk cId="2611591563" sldId="266"/>
            <ac:grpSpMk id="71" creationId="{4F2C33A0-61C5-0502-BEBC-8247EAD8C517}"/>
          </ac:grpSpMkLst>
        </pc:grpChg>
        <pc:grpChg chg="mod">
          <ac:chgData name="Patrick Jaenecke" userId="ba5df79b-7d0b-4e95-94d3-6ae7cd1bbe3d" providerId="ADAL" clId="{DC65C44D-198F-4C87-9C89-11AF910B9431}" dt="2025-12-03T11:09:22.532" v="3060" actId="1035"/>
          <ac:grpSpMkLst>
            <pc:docMk/>
            <pc:sldMk cId="2611591563" sldId="266"/>
            <ac:grpSpMk id="86" creationId="{BDB132AB-85E7-5583-DEDA-B97D67898FDF}"/>
          </ac:grpSpMkLst>
        </pc:grpChg>
        <pc:grpChg chg="add mod">
          <ac:chgData name="Patrick Jaenecke" userId="ba5df79b-7d0b-4e95-94d3-6ae7cd1bbe3d" providerId="ADAL" clId="{DC65C44D-198F-4C87-9C89-11AF910B9431}" dt="2025-12-03T11:14:14.825" v="3449" actId="1076"/>
          <ac:grpSpMkLst>
            <pc:docMk/>
            <pc:sldMk cId="2611591563" sldId="266"/>
            <ac:grpSpMk id="143" creationId="{BFF26828-52E1-21FA-3F7D-0D21DBA6F9F0}"/>
          </ac:grpSpMkLst>
        </pc:grpChg>
        <pc:grpChg chg="mod">
          <ac:chgData name="Patrick Jaenecke" userId="ba5df79b-7d0b-4e95-94d3-6ae7cd1bbe3d" providerId="ADAL" clId="{DC65C44D-198F-4C87-9C89-11AF910B9431}" dt="2025-12-03T11:19:07.761" v="3550" actId="1036"/>
          <ac:grpSpMkLst>
            <pc:docMk/>
            <pc:sldMk cId="2611591563" sldId="266"/>
            <ac:grpSpMk id="151" creationId="{F32728E8-362D-D396-12FC-30AF8252A6A6}"/>
          </ac:grpSpMkLst>
        </pc:grpChg>
        <pc:grpChg chg="mod">
          <ac:chgData name="Patrick Jaenecke" userId="ba5df79b-7d0b-4e95-94d3-6ae7cd1bbe3d" providerId="ADAL" clId="{DC65C44D-198F-4C87-9C89-11AF910B9431}" dt="2025-12-03T11:18:34.926" v="3529" actId="1036"/>
          <ac:grpSpMkLst>
            <pc:docMk/>
            <pc:sldMk cId="2611591563" sldId="266"/>
            <ac:grpSpMk id="259" creationId="{5A025968-BA32-E180-E2AB-641A6AC1B8C9}"/>
          </ac:grpSpMkLst>
        </pc:grpChg>
        <pc:grpChg chg="del">
          <ac:chgData name="Patrick Jaenecke" userId="ba5df79b-7d0b-4e95-94d3-6ae7cd1bbe3d" providerId="ADAL" clId="{DC65C44D-198F-4C87-9C89-11AF910B9431}" dt="2025-12-03T11:09:15.990" v="3032" actId="478"/>
          <ac:grpSpMkLst>
            <pc:docMk/>
            <pc:sldMk cId="2611591563" sldId="266"/>
            <ac:grpSpMk id="345" creationId="{97E5050F-8130-30A9-7758-064A71C382CE}"/>
          </ac:grpSpMkLst>
        </pc:grpChg>
        <pc:graphicFrameChg chg="del">
          <ac:chgData name="Patrick Jaenecke" userId="ba5df79b-7d0b-4e95-94d3-6ae7cd1bbe3d" providerId="ADAL" clId="{DC65C44D-198F-4C87-9C89-11AF910B9431}" dt="2025-12-03T11:09:18.188" v="3033" actId="478"/>
          <ac:graphicFrameMkLst>
            <pc:docMk/>
            <pc:sldMk cId="2611591563" sldId="266"/>
            <ac:graphicFrameMk id="191" creationId="{D63C388F-6A93-FCE2-1D3A-9C98B362109A}"/>
          </ac:graphicFrameMkLst>
        </pc:graphicFrameChg>
        <pc:picChg chg="mod">
          <ac:chgData name="Patrick Jaenecke" userId="ba5df79b-7d0b-4e95-94d3-6ae7cd1bbe3d" providerId="ADAL" clId="{DC65C44D-198F-4C87-9C89-11AF910B9431}" dt="2025-12-03T11:22:40.726" v="3621" actId="1076"/>
          <ac:picMkLst>
            <pc:docMk/>
            <pc:sldMk cId="2611591563" sldId="266"/>
            <ac:picMk id="74" creationId="{62422CEF-AB68-22EB-846F-EC8C6C42751F}"/>
          </ac:picMkLst>
        </pc:picChg>
        <pc:picChg chg="mod">
          <ac:chgData name="Patrick Jaenecke" userId="ba5df79b-7d0b-4e95-94d3-6ae7cd1bbe3d" providerId="ADAL" clId="{DC65C44D-198F-4C87-9C89-11AF910B9431}" dt="2025-12-03T11:09:22.532" v="3060" actId="1035"/>
          <ac:picMkLst>
            <pc:docMk/>
            <pc:sldMk cId="2611591563" sldId="266"/>
            <ac:picMk id="85" creationId="{94B1B3DD-64F0-AF42-077B-D2125CFC0930}"/>
          </ac:picMkLst>
        </pc:picChg>
        <pc:picChg chg="del">
          <ac:chgData name="Patrick Jaenecke" userId="ba5df79b-7d0b-4e95-94d3-6ae7cd1bbe3d" providerId="ADAL" clId="{DC65C44D-198F-4C87-9C89-11AF910B9431}" dt="2025-12-03T11:16:26.894" v="3481" actId="478"/>
          <ac:picMkLst>
            <pc:docMk/>
            <pc:sldMk cId="2611591563" sldId="266"/>
            <ac:picMk id="133" creationId="{BC75477B-B4B1-685C-9D2E-EA8E9DE79404}"/>
          </ac:picMkLst>
        </pc:picChg>
        <pc:picChg chg="del">
          <ac:chgData name="Patrick Jaenecke" userId="ba5df79b-7d0b-4e95-94d3-6ae7cd1bbe3d" providerId="ADAL" clId="{DC65C44D-198F-4C87-9C89-11AF910B9431}" dt="2025-12-03T11:16:14.469" v="3476" actId="478"/>
          <ac:picMkLst>
            <pc:docMk/>
            <pc:sldMk cId="2611591563" sldId="266"/>
            <ac:picMk id="141" creationId="{33223FD2-D32E-9168-6426-33DAE159FFFF}"/>
          </ac:picMkLst>
        </pc:picChg>
        <pc:picChg chg="add del mod">
          <ac:chgData name="Patrick Jaenecke" userId="ba5df79b-7d0b-4e95-94d3-6ae7cd1bbe3d" providerId="ADAL" clId="{DC65C44D-198F-4C87-9C89-11AF910B9431}" dt="2025-12-03T11:15:52.871" v="3472" actId="478"/>
          <ac:picMkLst>
            <pc:docMk/>
            <pc:sldMk cId="2611591563" sldId="266"/>
            <ac:picMk id="146" creationId="{E399DB4A-AB48-544F-EDED-9CB816DAE9E9}"/>
          </ac:picMkLst>
        </pc:picChg>
        <pc:picChg chg="add mod">
          <ac:chgData name="Patrick Jaenecke" userId="ba5df79b-7d0b-4e95-94d3-6ae7cd1bbe3d" providerId="ADAL" clId="{DC65C44D-198F-4C87-9C89-11AF910B9431}" dt="2025-12-03T12:39:46.653" v="3756" actId="1076"/>
          <ac:picMkLst>
            <pc:docMk/>
            <pc:sldMk cId="2611591563" sldId="266"/>
            <ac:picMk id="147" creationId="{501E940D-3CF8-7446-62DC-C986A920ED74}"/>
          </ac:picMkLst>
        </pc:picChg>
        <pc:picChg chg="mod">
          <ac:chgData name="Patrick Jaenecke" userId="ba5df79b-7d0b-4e95-94d3-6ae7cd1bbe3d" providerId="ADAL" clId="{DC65C44D-198F-4C87-9C89-11AF910B9431}" dt="2025-12-03T11:18:30.287" v="3521" actId="1035"/>
          <ac:picMkLst>
            <pc:docMk/>
            <pc:sldMk cId="2611591563" sldId="266"/>
            <ac:picMk id="148" creationId="{15977355-D39E-D0D4-71BC-9E5E98385924}"/>
          </ac:picMkLst>
        </pc:picChg>
        <pc:picChg chg="add mod">
          <ac:chgData name="Patrick Jaenecke" userId="ba5df79b-7d0b-4e95-94d3-6ae7cd1bbe3d" providerId="ADAL" clId="{DC65C44D-198F-4C87-9C89-11AF910B9431}" dt="2025-12-03T12:39:38.683" v="3754" actId="1076"/>
          <ac:picMkLst>
            <pc:docMk/>
            <pc:sldMk cId="2611591563" sldId="266"/>
            <ac:picMk id="149" creationId="{1566FFCF-8CDD-4D85-38F4-A7030F450ECE}"/>
          </ac:picMkLst>
        </pc:picChg>
        <pc:picChg chg="mod">
          <ac:chgData name="Patrick Jaenecke" userId="ba5df79b-7d0b-4e95-94d3-6ae7cd1bbe3d" providerId="ADAL" clId="{DC65C44D-198F-4C87-9C89-11AF910B9431}" dt="2025-12-03T11:08:50.639" v="2987" actId="14100"/>
          <ac:picMkLst>
            <pc:docMk/>
            <pc:sldMk cId="2611591563" sldId="266"/>
            <ac:picMk id="154" creationId="{7D27479E-5019-9925-79D7-C091C2197EC4}"/>
          </ac:picMkLst>
        </pc:picChg>
        <pc:picChg chg="mod">
          <ac:chgData name="Patrick Jaenecke" userId="ba5df79b-7d0b-4e95-94d3-6ae7cd1bbe3d" providerId="ADAL" clId="{DC65C44D-198F-4C87-9C89-11AF910B9431}" dt="2025-12-03T11:19:52.675" v="3575" actId="14100"/>
          <ac:picMkLst>
            <pc:docMk/>
            <pc:sldMk cId="2611591563" sldId="266"/>
            <ac:picMk id="287" creationId="{13189841-542E-2A17-C396-B9B9EBA5204E}"/>
          </ac:picMkLst>
        </pc:picChg>
        <pc:cxnChg chg="mod">
          <ac:chgData name="Patrick Jaenecke" userId="ba5df79b-7d0b-4e95-94d3-6ae7cd1bbe3d" providerId="ADAL" clId="{DC65C44D-198F-4C87-9C89-11AF910B9431}" dt="2025-12-03T11:10:56.127" v="3298" actId="1582"/>
          <ac:cxnSpMkLst>
            <pc:docMk/>
            <pc:sldMk cId="2611591563" sldId="266"/>
            <ac:cxnSpMk id="40" creationId="{4C733BD4-8592-FB1B-9964-77C738210A91}"/>
          </ac:cxnSpMkLst>
        </pc:cxnChg>
        <pc:cxnChg chg="mod">
          <ac:chgData name="Patrick Jaenecke" userId="ba5df79b-7d0b-4e95-94d3-6ae7cd1bbe3d" providerId="ADAL" clId="{DC65C44D-198F-4C87-9C89-11AF910B9431}" dt="2025-12-03T11:10:56.116" v="3283" actId="1582"/>
          <ac:cxnSpMkLst>
            <pc:docMk/>
            <pc:sldMk cId="2611591563" sldId="266"/>
            <ac:cxnSpMk id="45" creationId="{B95E3266-519D-95CF-4C1C-0C55828238FF}"/>
          </ac:cxnSpMkLst>
        </pc:cxnChg>
        <pc:cxnChg chg="mod">
          <ac:chgData name="Patrick Jaenecke" userId="ba5df79b-7d0b-4e95-94d3-6ae7cd1bbe3d" providerId="ADAL" clId="{DC65C44D-198F-4C87-9C89-11AF910B9431}" dt="2025-12-03T12:38:30.022" v="3734" actId="1036"/>
          <ac:cxnSpMkLst>
            <pc:docMk/>
            <pc:sldMk cId="2611591563" sldId="266"/>
            <ac:cxnSpMk id="50" creationId="{5B910645-AE71-CA19-3014-2F5E1A481D52}"/>
          </ac:cxnSpMkLst>
        </pc:cxnChg>
        <pc:cxnChg chg="mod">
          <ac:chgData name="Patrick Jaenecke" userId="ba5df79b-7d0b-4e95-94d3-6ae7cd1bbe3d" providerId="ADAL" clId="{DC65C44D-198F-4C87-9C89-11AF910B9431}" dt="2025-12-03T12:38:36.960" v="3736"/>
          <ac:cxnSpMkLst>
            <pc:docMk/>
            <pc:sldMk cId="2611591563" sldId="266"/>
            <ac:cxnSpMk id="55" creationId="{ED996977-4795-5DE0-7F45-CD9FEB0DCB87}"/>
          </ac:cxnSpMkLst>
        </pc:cxnChg>
        <pc:cxnChg chg="mod">
          <ac:chgData name="Patrick Jaenecke" userId="ba5df79b-7d0b-4e95-94d3-6ae7cd1bbe3d" providerId="ADAL" clId="{DC65C44D-198F-4C87-9C89-11AF910B9431}" dt="2025-12-03T11:10:56.110" v="3261" actId="1582"/>
          <ac:cxnSpMkLst>
            <pc:docMk/>
            <pc:sldMk cId="2611591563" sldId="266"/>
            <ac:cxnSpMk id="58" creationId="{66730322-D769-F04B-5BA7-2CB5D9427CC9}"/>
          </ac:cxnSpMkLst>
        </pc:cxnChg>
        <pc:cxnChg chg="mod">
          <ac:chgData name="Patrick Jaenecke" userId="ba5df79b-7d0b-4e95-94d3-6ae7cd1bbe3d" providerId="ADAL" clId="{DC65C44D-198F-4C87-9C89-11AF910B9431}" dt="2025-12-03T11:10:56.110" v="3260" actId="1582"/>
          <ac:cxnSpMkLst>
            <pc:docMk/>
            <pc:sldMk cId="2611591563" sldId="266"/>
            <ac:cxnSpMk id="59" creationId="{36316630-E2B2-EEA2-215A-99623F3F43A2}"/>
          </ac:cxnSpMkLst>
        </pc:cxnChg>
        <pc:cxnChg chg="mod">
          <ac:chgData name="Patrick Jaenecke" userId="ba5df79b-7d0b-4e95-94d3-6ae7cd1bbe3d" providerId="ADAL" clId="{DC65C44D-198F-4C87-9C89-11AF910B9431}" dt="2025-12-03T11:12:04.026" v="3342" actId="1582"/>
          <ac:cxnSpMkLst>
            <pc:docMk/>
            <pc:sldMk cId="2611591563" sldId="266"/>
            <ac:cxnSpMk id="76" creationId="{C04D5E75-3616-EC49-7005-5C023042B1DD}"/>
          </ac:cxnSpMkLst>
        </pc:cxnChg>
        <pc:cxnChg chg="mod">
          <ac:chgData name="Patrick Jaenecke" userId="ba5df79b-7d0b-4e95-94d3-6ae7cd1bbe3d" providerId="ADAL" clId="{DC65C44D-198F-4C87-9C89-11AF910B9431}" dt="2025-12-03T11:12:04.037" v="3357" actId="1582"/>
          <ac:cxnSpMkLst>
            <pc:docMk/>
            <pc:sldMk cId="2611591563" sldId="266"/>
            <ac:cxnSpMk id="79" creationId="{7D827BAC-11E9-2459-063F-689D6EA3419D}"/>
          </ac:cxnSpMkLst>
        </pc:cxnChg>
        <pc:cxnChg chg="mod">
          <ac:chgData name="Patrick Jaenecke" userId="ba5df79b-7d0b-4e95-94d3-6ae7cd1bbe3d" providerId="ADAL" clId="{DC65C44D-198F-4C87-9C89-11AF910B9431}" dt="2025-12-03T11:12:04.052" v="3379" actId="1582"/>
          <ac:cxnSpMkLst>
            <pc:docMk/>
            <pc:sldMk cId="2611591563" sldId="266"/>
            <ac:cxnSpMk id="101" creationId="{CC9CFBE8-C1EC-071A-8A3A-BB685563B4B3}"/>
          </ac:cxnSpMkLst>
        </pc:cxnChg>
        <pc:cxnChg chg="mod">
          <ac:chgData name="Patrick Jaenecke" userId="ba5df79b-7d0b-4e95-94d3-6ae7cd1bbe3d" providerId="ADAL" clId="{DC65C44D-198F-4C87-9C89-11AF910B9431}" dt="2025-12-03T11:12:04.053" v="3380" actId="1582"/>
          <ac:cxnSpMkLst>
            <pc:docMk/>
            <pc:sldMk cId="2611591563" sldId="266"/>
            <ac:cxnSpMk id="121" creationId="{0D105E2D-B5F3-29A0-6F00-90CBD6A58617}"/>
          </ac:cxnSpMkLst>
        </pc:cxnChg>
      </pc:sldChg>
    </pc:docChg>
  </pc:docChgLst>
  <pc:docChgLst>
    <pc:chgData name="Lamprecht, Lucie (WBK)" userId="acba2c87-4988-427a-a7cc-13ce533c2154" providerId="ADAL" clId="{4FE49477-51F3-49C5-87DA-BEC44D187332}"/>
    <pc:docChg chg="undo custSel modSld modMainMaster">
      <pc:chgData name="Lamprecht, Lucie (WBK)" userId="acba2c87-4988-427a-a7cc-13ce533c2154" providerId="ADAL" clId="{4FE49477-51F3-49C5-87DA-BEC44D187332}" dt="2025-12-03T19:47:07.041" v="720"/>
      <pc:docMkLst>
        <pc:docMk/>
      </pc:docMkLst>
      <pc:sldChg chg="delSp modSp">
        <pc:chgData name="Lamprecht, Lucie (WBK)" userId="acba2c87-4988-427a-a7cc-13ce533c2154" providerId="ADAL" clId="{4FE49477-51F3-49C5-87DA-BEC44D187332}" dt="2025-11-29T18:49:30.166" v="115" actId="478"/>
        <pc:sldMkLst>
          <pc:docMk/>
          <pc:sldMk cId="176520361" sldId="264"/>
        </pc:sldMkLst>
        <pc:spChg chg="mod">
          <ac:chgData name="Lamprecht, Lucie (WBK)" userId="acba2c87-4988-427a-a7cc-13ce533c2154" providerId="ADAL" clId="{4FE49477-51F3-49C5-87DA-BEC44D187332}" dt="2025-11-29T18:42:54.524" v="81" actId="1037"/>
          <ac:spMkLst>
            <pc:docMk/>
            <pc:sldMk cId="176520361" sldId="264"/>
            <ac:spMk id="23" creationId="{16AEB445-2DAD-BB32-C518-1B8E7876FFC5}"/>
          </ac:spMkLst>
        </pc:spChg>
        <pc:spChg chg="mod">
          <ac:chgData name="Lamprecht, Lucie (WBK)" userId="acba2c87-4988-427a-a7cc-13ce533c2154" providerId="ADAL" clId="{4FE49477-51F3-49C5-87DA-BEC44D187332}" dt="2025-11-29T18:44:56.397" v="90" actId="20577"/>
          <ac:spMkLst>
            <pc:docMk/>
            <pc:sldMk cId="176520361" sldId="264"/>
            <ac:spMk id="31" creationId="{58A900BF-1D93-34BD-E65E-8AB57C1DC741}"/>
          </ac:spMkLst>
        </pc:spChg>
        <pc:spChg chg="mod">
          <ac:chgData name="Lamprecht, Lucie (WBK)" userId="acba2c87-4988-427a-a7cc-13ce533c2154" providerId="ADAL" clId="{4FE49477-51F3-49C5-87DA-BEC44D187332}" dt="2025-11-29T18:39:07.747" v="34" actId="207"/>
          <ac:spMkLst>
            <pc:docMk/>
            <pc:sldMk cId="176520361" sldId="264"/>
            <ac:spMk id="43" creationId="{187AA5E9-C33E-03D2-14AE-5C164761C2E8}"/>
          </ac:spMkLst>
        </pc:spChg>
        <pc:spChg chg="mod">
          <ac:chgData name="Lamprecht, Lucie (WBK)" userId="acba2c87-4988-427a-a7cc-13ce533c2154" providerId="ADAL" clId="{4FE49477-51F3-49C5-87DA-BEC44D187332}" dt="2025-11-29T18:39:36.959" v="37" actId="207"/>
          <ac:spMkLst>
            <pc:docMk/>
            <pc:sldMk cId="176520361" sldId="264"/>
            <ac:spMk id="44" creationId="{C611CFE0-7FE5-C3C4-5403-2234A3F40FCA}"/>
          </ac:spMkLst>
        </pc:spChg>
        <pc:spChg chg="mod">
          <ac:chgData name="Lamprecht, Lucie (WBK)" userId="acba2c87-4988-427a-a7cc-13ce533c2154" providerId="ADAL" clId="{4FE49477-51F3-49C5-87DA-BEC44D187332}" dt="2025-11-29T18:39:42.796" v="40" actId="207"/>
          <ac:spMkLst>
            <pc:docMk/>
            <pc:sldMk cId="176520361" sldId="264"/>
            <ac:spMk id="51" creationId="{674039D1-7AEA-C5A2-77C3-8913F9180C55}"/>
          </ac:spMkLst>
        </pc:spChg>
        <pc:spChg chg="mod">
          <ac:chgData name="Lamprecht, Lucie (WBK)" userId="acba2c87-4988-427a-a7cc-13ce533c2154" providerId="ADAL" clId="{4FE49477-51F3-49C5-87DA-BEC44D187332}" dt="2025-11-29T18:40:27.728" v="45" actId="1037"/>
          <ac:spMkLst>
            <pc:docMk/>
            <pc:sldMk cId="176520361" sldId="264"/>
            <ac:spMk id="84" creationId="{B64221C8-EA02-F2B3-2062-6DB18D70B11C}"/>
          </ac:spMkLst>
        </pc:spChg>
        <pc:spChg chg="mod">
          <ac:chgData name="Lamprecht, Lucie (WBK)" userId="acba2c87-4988-427a-a7cc-13ce533c2154" providerId="ADAL" clId="{4FE49477-51F3-49C5-87DA-BEC44D187332}" dt="2025-11-29T18:47:27.630" v="102" actId="20577"/>
          <ac:spMkLst>
            <pc:docMk/>
            <pc:sldMk cId="176520361" sldId="264"/>
            <ac:spMk id="127" creationId="{03CD48A1-3FC3-5DCC-D923-E5CB3E228571}"/>
          </ac:spMkLst>
        </pc:spChg>
        <pc:spChg chg="mod">
          <ac:chgData name="Lamprecht, Lucie (WBK)" userId="acba2c87-4988-427a-a7cc-13ce533c2154" providerId="ADAL" clId="{4FE49477-51F3-49C5-87DA-BEC44D187332}" dt="2025-11-29T18:45:07.571" v="94" actId="20577"/>
          <ac:spMkLst>
            <pc:docMk/>
            <pc:sldMk cId="176520361" sldId="264"/>
            <ac:spMk id="153" creationId="{6158B45A-F1DA-FCC6-8704-2E4B3726F62B}"/>
          </ac:spMkLst>
        </pc:spChg>
        <pc:spChg chg="mod">
          <ac:chgData name="Lamprecht, Lucie (WBK)" userId="acba2c87-4988-427a-a7cc-13ce533c2154" providerId="ADAL" clId="{4FE49477-51F3-49C5-87DA-BEC44D187332}" dt="2025-11-29T18:48:10.517" v="113" actId="1038"/>
          <ac:spMkLst>
            <pc:docMk/>
            <pc:sldMk cId="176520361" sldId="264"/>
            <ac:spMk id="175" creationId="{7AD8B40D-3A4F-9036-77AF-A90BD9622EE7}"/>
          </ac:spMkLst>
        </pc:spChg>
        <pc:spChg chg="mod">
          <ac:chgData name="Lamprecht, Lucie (WBK)" userId="acba2c87-4988-427a-a7cc-13ce533c2154" providerId="ADAL" clId="{4FE49477-51F3-49C5-87DA-BEC44D187332}" dt="2025-11-29T18:44:15.556" v="85" actId="20577"/>
          <ac:spMkLst>
            <pc:docMk/>
            <pc:sldMk cId="176520361" sldId="264"/>
            <ac:spMk id="177" creationId="{382D2F4D-FA3E-7C59-F8BA-FFC196365225}"/>
          </ac:spMkLst>
        </pc:spChg>
        <pc:spChg chg="mod">
          <ac:chgData name="Lamprecht, Lucie (WBK)" userId="acba2c87-4988-427a-a7cc-13ce533c2154" providerId="ADAL" clId="{4FE49477-51F3-49C5-87DA-BEC44D187332}" dt="2025-11-29T18:38:52.522" v="31" actId="207"/>
          <ac:spMkLst>
            <pc:docMk/>
            <pc:sldMk cId="176520361" sldId="264"/>
            <ac:spMk id="181" creationId="{32BBC927-D58C-AEC0-5892-FDA5EFD9A23B}"/>
          </ac:spMkLst>
        </pc:spChg>
        <pc:spChg chg="mod">
          <ac:chgData name="Lamprecht, Lucie (WBK)" userId="acba2c87-4988-427a-a7cc-13ce533c2154" providerId="ADAL" clId="{4FE49477-51F3-49C5-87DA-BEC44D187332}" dt="2025-11-29T18:46:43.846" v="98" actId="20577"/>
          <ac:spMkLst>
            <pc:docMk/>
            <pc:sldMk cId="176520361" sldId="264"/>
            <ac:spMk id="182" creationId="{87885CAF-42F3-AE73-ADBA-56E08FE65141}"/>
          </ac:spMkLst>
        </pc:spChg>
        <pc:spChg chg="mod">
          <ac:chgData name="Lamprecht, Lucie (WBK)" userId="acba2c87-4988-427a-a7cc-13ce533c2154" providerId="ADAL" clId="{4FE49477-51F3-49C5-87DA-BEC44D187332}" dt="2025-11-29T18:38:47.363" v="29" actId="207"/>
          <ac:spMkLst>
            <pc:docMk/>
            <pc:sldMk cId="176520361" sldId="264"/>
            <ac:spMk id="183" creationId="{03432BB8-6C9F-923D-8375-7F0B11F5949F}"/>
          </ac:spMkLst>
        </pc:spChg>
        <pc:spChg chg="mod">
          <ac:chgData name="Lamprecht, Lucie (WBK)" userId="acba2c87-4988-427a-a7cc-13ce533c2154" providerId="ADAL" clId="{4FE49477-51F3-49C5-87DA-BEC44D187332}" dt="2025-11-29T18:38:41.450" v="27" actId="207"/>
          <ac:spMkLst>
            <pc:docMk/>
            <pc:sldMk cId="176520361" sldId="264"/>
            <ac:spMk id="397" creationId="{F53B7B9C-6B90-A70A-4717-A0FE3E783F4A}"/>
          </ac:spMkLst>
        </pc:spChg>
        <pc:spChg chg="mod">
          <ac:chgData name="Lamprecht, Lucie (WBK)" userId="acba2c87-4988-427a-a7cc-13ce533c2154" providerId="ADAL" clId="{4FE49477-51F3-49C5-87DA-BEC44D187332}" dt="2025-11-29T18:38:45.208" v="28" actId="207"/>
          <ac:spMkLst>
            <pc:docMk/>
            <pc:sldMk cId="176520361" sldId="264"/>
            <ac:spMk id="399" creationId="{43FB8439-D370-306B-4870-D6A691250AB2}"/>
          </ac:spMkLst>
        </pc:spChg>
      </pc:sldChg>
      <pc:sldChg chg="addSp delSp modSp">
        <pc:chgData name="Lamprecht, Lucie (WBK)" userId="acba2c87-4988-427a-a7cc-13ce533c2154" providerId="ADAL" clId="{4FE49477-51F3-49C5-87DA-BEC44D187332}" dt="2025-12-03T19:47:07.041" v="720"/>
        <pc:sldMkLst>
          <pc:docMk/>
          <pc:sldMk cId="2611591563" sldId="266"/>
        </pc:sldMkLst>
        <pc:spChg chg="mod ord">
          <ac:chgData name="Lamprecht, Lucie (WBK)" userId="acba2c87-4988-427a-a7cc-13ce533c2154" providerId="ADAL" clId="{4FE49477-51F3-49C5-87DA-BEC44D187332}" dt="2025-12-03T16:11:36.821" v="665"/>
          <ac:spMkLst>
            <pc:docMk/>
            <pc:sldMk cId="2611591563" sldId="266"/>
            <ac:spMk id="2" creationId="{CD2100B9-E636-1B8F-6EDE-AD4E9ADECA64}"/>
          </ac:spMkLst>
        </pc:spChg>
        <pc:spChg chg="mod ord">
          <ac:chgData name="Lamprecht, Lucie (WBK)" userId="acba2c87-4988-427a-a7cc-13ce533c2154" providerId="ADAL" clId="{4FE49477-51F3-49C5-87DA-BEC44D187332}" dt="2025-12-03T16:11:36.821" v="689"/>
          <ac:spMkLst>
            <pc:docMk/>
            <pc:sldMk cId="2611591563" sldId="266"/>
            <ac:spMk id="8" creationId="{8464F331-4E68-DA2C-0895-D39622F654F4}"/>
          </ac:spMkLst>
        </pc:spChg>
        <pc:spChg chg="mod ord">
          <ac:chgData name="Lamprecht, Lucie (WBK)" userId="acba2c87-4988-427a-a7cc-13ce533c2154" providerId="ADAL" clId="{4FE49477-51F3-49C5-87DA-BEC44D187332}" dt="2025-12-03T16:11:36.821" v="673"/>
          <ac:spMkLst>
            <pc:docMk/>
            <pc:sldMk cId="2611591563" sldId="266"/>
            <ac:spMk id="16" creationId="{D9A6940C-B48A-1BE4-9355-12D127DED41A}"/>
          </ac:spMkLst>
        </pc:spChg>
        <pc:spChg chg="mod ord">
          <ac:chgData name="Lamprecht, Lucie (WBK)" userId="acba2c87-4988-427a-a7cc-13ce533c2154" providerId="ADAL" clId="{4FE49477-51F3-49C5-87DA-BEC44D187332}" dt="2025-12-03T16:11:36.809" v="587"/>
          <ac:spMkLst>
            <pc:docMk/>
            <pc:sldMk cId="2611591563" sldId="266"/>
            <ac:spMk id="17" creationId="{6C516D21-45A5-239A-8692-16D4FEE7EF25}"/>
          </ac:spMkLst>
        </pc:spChg>
        <pc:spChg chg="mod ord">
          <ac:chgData name="Lamprecht, Lucie (WBK)" userId="acba2c87-4988-427a-a7cc-13ce533c2154" providerId="ADAL" clId="{4FE49477-51F3-49C5-87DA-BEC44D187332}" dt="2025-12-03T16:11:36.809" v="589"/>
          <ac:spMkLst>
            <pc:docMk/>
            <pc:sldMk cId="2611591563" sldId="266"/>
            <ac:spMk id="18" creationId="{F9D794F8-7EB2-2B07-17C8-8019B15CD8F0}"/>
          </ac:spMkLst>
        </pc:spChg>
        <pc:spChg chg="mod ord">
          <ac:chgData name="Lamprecht, Lucie (WBK)" userId="acba2c87-4988-427a-a7cc-13ce533c2154" providerId="ADAL" clId="{4FE49477-51F3-49C5-87DA-BEC44D187332}" dt="2025-12-03T16:11:36.821" v="675"/>
          <ac:spMkLst>
            <pc:docMk/>
            <pc:sldMk cId="2611591563" sldId="266"/>
            <ac:spMk id="19" creationId="{22FBBCAC-8F0E-D3A7-6706-0109FD1F8E99}"/>
          </ac:spMkLst>
        </pc:spChg>
        <pc:spChg chg="mod ord">
          <ac:chgData name="Lamprecht, Lucie (WBK)" userId="acba2c87-4988-427a-a7cc-13ce533c2154" providerId="ADAL" clId="{4FE49477-51F3-49C5-87DA-BEC44D187332}" dt="2025-12-03T16:11:36.828" v="701"/>
          <ac:spMkLst>
            <pc:docMk/>
            <pc:sldMk cId="2611591563" sldId="266"/>
            <ac:spMk id="24" creationId="{0A2DD4E0-4203-29A5-6F7E-3C8F9494A6D5}"/>
          </ac:spMkLst>
        </pc:spChg>
        <pc:spChg chg="mod ord">
          <ac:chgData name="Lamprecht, Lucie (WBK)" userId="acba2c87-4988-427a-a7cc-13ce533c2154" providerId="ADAL" clId="{4FE49477-51F3-49C5-87DA-BEC44D187332}" dt="2025-12-03T16:11:36.809" v="591"/>
          <ac:spMkLst>
            <pc:docMk/>
            <pc:sldMk cId="2611591563" sldId="266"/>
            <ac:spMk id="25" creationId="{AB62E61E-9E43-CB51-BC6B-0A65B426E713}"/>
          </ac:spMkLst>
        </pc:spChg>
        <pc:spChg chg="mod ord">
          <ac:chgData name="Lamprecht, Lucie (WBK)" userId="acba2c87-4988-427a-a7cc-13ce533c2154" providerId="ADAL" clId="{4FE49477-51F3-49C5-87DA-BEC44D187332}" dt="2025-12-03T16:11:36.821" v="681"/>
          <ac:spMkLst>
            <pc:docMk/>
            <pc:sldMk cId="2611591563" sldId="266"/>
            <ac:spMk id="26" creationId="{AF9C8FC4-BD2B-F61A-3678-A581977CAA73}"/>
          </ac:spMkLst>
        </pc:spChg>
        <pc:spChg chg="mod ord">
          <ac:chgData name="Lamprecht, Lucie (WBK)" userId="acba2c87-4988-427a-a7cc-13ce533c2154" providerId="ADAL" clId="{4FE49477-51F3-49C5-87DA-BEC44D187332}" dt="2025-12-03T16:11:36.809" v="593"/>
          <ac:spMkLst>
            <pc:docMk/>
            <pc:sldMk cId="2611591563" sldId="266"/>
            <ac:spMk id="31" creationId="{33F1D5CB-E365-0D6F-5A72-725C2B6B0C8B}"/>
          </ac:spMkLst>
        </pc:spChg>
        <pc:spChg chg="mod ord">
          <ac:chgData name="Lamprecht, Lucie (WBK)" userId="acba2c87-4988-427a-a7cc-13ce533c2154" providerId="ADAL" clId="{4FE49477-51F3-49C5-87DA-BEC44D187332}" dt="2025-12-03T16:11:36.828" v="703"/>
          <ac:spMkLst>
            <pc:docMk/>
            <pc:sldMk cId="2611591563" sldId="266"/>
            <ac:spMk id="34" creationId="{E6EED51E-2608-D3E0-0655-809BA38E34AB}"/>
          </ac:spMkLst>
        </pc:spChg>
        <pc:spChg chg="mod ord">
          <ac:chgData name="Lamprecht, Lucie (WBK)" userId="acba2c87-4988-427a-a7cc-13ce533c2154" providerId="ADAL" clId="{4FE49477-51F3-49C5-87DA-BEC44D187332}" dt="2025-12-03T16:11:36.821" v="687"/>
          <ac:spMkLst>
            <pc:docMk/>
            <pc:sldMk cId="2611591563" sldId="266"/>
            <ac:spMk id="35" creationId="{FBB23D73-9CD8-30A9-C884-E7919BDBC6A5}"/>
          </ac:spMkLst>
        </pc:spChg>
        <pc:spChg chg="mod ord">
          <ac:chgData name="Lamprecht, Lucie (WBK)" userId="acba2c87-4988-427a-a7cc-13ce533c2154" providerId="ADAL" clId="{4FE49477-51F3-49C5-87DA-BEC44D187332}" dt="2025-12-03T16:11:36.809" v="595"/>
          <ac:spMkLst>
            <pc:docMk/>
            <pc:sldMk cId="2611591563" sldId="266"/>
            <ac:spMk id="36" creationId="{BB2F0CFB-11B7-1B61-A4C9-F0028D797692}"/>
          </ac:spMkLst>
        </pc:spChg>
        <pc:spChg chg="mod ord">
          <ac:chgData name="Lamprecht, Lucie (WBK)" userId="acba2c87-4988-427a-a7cc-13ce533c2154" providerId="ADAL" clId="{4FE49477-51F3-49C5-87DA-BEC44D187332}" dt="2025-12-03T16:11:36.828" v="705"/>
          <ac:spMkLst>
            <pc:docMk/>
            <pc:sldMk cId="2611591563" sldId="266"/>
            <ac:spMk id="37" creationId="{177BBC31-8904-CE5C-BE87-03EBA1862008}"/>
          </ac:spMkLst>
        </pc:spChg>
        <pc:spChg chg="mod ord">
          <ac:chgData name="Lamprecht, Lucie (WBK)" userId="acba2c87-4988-427a-a7cc-13ce533c2154" providerId="ADAL" clId="{4FE49477-51F3-49C5-87DA-BEC44D187332}" dt="2025-12-03T16:11:36.828" v="707"/>
          <ac:spMkLst>
            <pc:docMk/>
            <pc:sldMk cId="2611591563" sldId="266"/>
            <ac:spMk id="39" creationId="{00266EBE-FAB8-68DD-B756-A02400D523EE}"/>
          </ac:spMkLst>
        </pc:spChg>
        <pc:spChg chg="mod ord">
          <ac:chgData name="Lamprecht, Lucie (WBK)" userId="acba2c87-4988-427a-a7cc-13ce533c2154" providerId="ADAL" clId="{4FE49477-51F3-49C5-87DA-BEC44D187332}" dt="2025-12-03T16:11:12.577" v="568" actId="164"/>
          <ac:spMkLst>
            <pc:docMk/>
            <pc:sldMk cId="2611591563" sldId="266"/>
            <ac:spMk id="40" creationId="{C06DFA61-B648-FECC-026C-2A0C7E2F0197}"/>
          </ac:spMkLst>
        </pc:spChg>
        <pc:spChg chg="mod ord">
          <ac:chgData name="Lamprecht, Lucie (WBK)" userId="acba2c87-4988-427a-a7cc-13ce533c2154" providerId="ADAL" clId="{4FE49477-51F3-49C5-87DA-BEC44D187332}" dt="2025-12-03T16:11:36.811" v="607"/>
          <ac:spMkLst>
            <pc:docMk/>
            <pc:sldMk cId="2611591563" sldId="266"/>
            <ac:spMk id="43" creationId="{CBBB8AF9-9782-64BF-37E0-9B83D7D05E5E}"/>
          </ac:spMkLst>
        </pc:spChg>
        <pc:spChg chg="mod ord">
          <ac:chgData name="Lamprecht, Lucie (WBK)" userId="acba2c87-4988-427a-a7cc-13ce533c2154" providerId="ADAL" clId="{4FE49477-51F3-49C5-87DA-BEC44D187332}" dt="2025-12-03T16:11:36.813" v="609"/>
          <ac:spMkLst>
            <pc:docMk/>
            <pc:sldMk cId="2611591563" sldId="266"/>
            <ac:spMk id="44" creationId="{F4FAC9B2-310D-CCF3-9AC8-66BC8886A723}"/>
          </ac:spMkLst>
        </pc:spChg>
        <pc:spChg chg="mod ord">
          <ac:chgData name="Lamprecht, Lucie (WBK)" userId="acba2c87-4988-427a-a7cc-13ce533c2154" providerId="ADAL" clId="{4FE49477-51F3-49C5-87DA-BEC44D187332}" dt="2025-12-03T16:11:36.807" v="585"/>
          <ac:spMkLst>
            <pc:docMk/>
            <pc:sldMk cId="2611591563" sldId="266"/>
            <ac:spMk id="47" creationId="{8251082C-97CE-547E-B696-4AA55AED587F}"/>
          </ac:spMkLst>
        </pc:spChg>
        <pc:spChg chg="mod ord">
          <ac:chgData name="Lamprecht, Lucie (WBK)" userId="acba2c87-4988-427a-a7cc-13ce533c2154" providerId="ADAL" clId="{4FE49477-51F3-49C5-87DA-BEC44D187332}" dt="2025-12-03T16:11:36.809" v="597"/>
          <ac:spMkLst>
            <pc:docMk/>
            <pc:sldMk cId="2611591563" sldId="266"/>
            <ac:spMk id="48" creationId="{B929C4BB-696A-03EB-0369-0B66A8B7B4E8}"/>
          </ac:spMkLst>
        </pc:spChg>
        <pc:spChg chg="mod ord">
          <ac:chgData name="Lamprecht, Lucie (WBK)" userId="acba2c87-4988-427a-a7cc-13ce533c2154" providerId="ADAL" clId="{4FE49477-51F3-49C5-87DA-BEC44D187332}" dt="2025-12-03T16:11:36.813" v="611"/>
          <ac:spMkLst>
            <pc:docMk/>
            <pc:sldMk cId="2611591563" sldId="266"/>
            <ac:spMk id="51" creationId="{2581C2FA-63DA-45C5-324C-F99670E14549}"/>
          </ac:spMkLst>
        </pc:spChg>
        <pc:spChg chg="mod">
          <ac:chgData name="Lamprecht, Lucie (WBK)" userId="acba2c87-4988-427a-a7cc-13ce533c2154" providerId="ADAL" clId="{4FE49477-51F3-49C5-87DA-BEC44D187332}" dt="2025-12-03T16:55:11.893" v="719" actId="1038"/>
          <ac:spMkLst>
            <pc:docMk/>
            <pc:sldMk cId="2611591563" sldId="266"/>
            <ac:spMk id="62" creationId="{015E0B54-52E6-2F7F-4628-21D47F91DC7B}"/>
          </ac:spMkLst>
        </pc:spChg>
        <pc:spChg chg="mod ord">
          <ac:chgData name="Lamprecht, Lucie (WBK)" userId="acba2c87-4988-427a-a7cc-13ce533c2154" providerId="ADAL" clId="{4FE49477-51F3-49C5-87DA-BEC44D187332}" dt="2025-12-03T16:11:36.821" v="685"/>
          <ac:spMkLst>
            <pc:docMk/>
            <pc:sldMk cId="2611591563" sldId="266"/>
            <ac:spMk id="116" creationId="{9667C4A3-B463-0E5D-E3A6-513DD2AFA2E3}"/>
          </ac:spMkLst>
        </pc:spChg>
        <pc:spChg chg="mod ord">
          <ac:chgData name="Lamprecht, Lucie (WBK)" userId="acba2c87-4988-427a-a7cc-13ce533c2154" providerId="ADAL" clId="{4FE49477-51F3-49C5-87DA-BEC44D187332}" dt="2025-12-03T16:11:36.828" v="693"/>
          <ac:spMkLst>
            <pc:docMk/>
            <pc:sldMk cId="2611591563" sldId="266"/>
            <ac:spMk id="142" creationId="{D58A9A04-3CFA-74C3-CD7E-4686482A67C1}"/>
          </ac:spMkLst>
        </pc:spChg>
        <pc:spChg chg="mod ord">
          <ac:chgData name="Lamprecht, Lucie (WBK)" userId="acba2c87-4988-427a-a7cc-13ce533c2154" providerId="ADAL" clId="{4FE49477-51F3-49C5-87DA-BEC44D187332}" dt="2025-12-03T16:11:36.828" v="695"/>
          <ac:spMkLst>
            <pc:docMk/>
            <pc:sldMk cId="2611591563" sldId="266"/>
            <ac:spMk id="145" creationId="{176DA749-BB65-DA2A-7717-C00E2A1C3ABE}"/>
          </ac:spMkLst>
        </pc:spChg>
        <pc:spChg chg="mod ord">
          <ac:chgData name="Lamprecht, Lucie (WBK)" userId="acba2c87-4988-427a-a7cc-13ce533c2154" providerId="ADAL" clId="{4FE49477-51F3-49C5-87DA-BEC44D187332}" dt="2025-12-03T16:11:36.815" v="627"/>
          <ac:spMkLst>
            <pc:docMk/>
            <pc:sldMk cId="2611591563" sldId="266"/>
            <ac:spMk id="150" creationId="{0C9E8631-F1D9-474C-ECCD-BF6AB0A5B7E6}"/>
          </ac:spMkLst>
        </pc:spChg>
        <pc:spChg chg="mod ord">
          <ac:chgData name="Lamprecht, Lucie (WBK)" userId="acba2c87-4988-427a-a7cc-13ce533c2154" providerId="ADAL" clId="{4FE49477-51F3-49C5-87DA-BEC44D187332}" dt="2025-12-03T16:11:36.817" v="633"/>
          <ac:spMkLst>
            <pc:docMk/>
            <pc:sldMk cId="2611591563" sldId="266"/>
            <ac:spMk id="155" creationId="{A6103549-E6CE-FAAA-CAA5-1666472EE867}"/>
          </ac:spMkLst>
        </pc:spChg>
        <pc:spChg chg="mod ord">
          <ac:chgData name="Lamprecht, Lucie (WBK)" userId="acba2c87-4988-427a-a7cc-13ce533c2154" providerId="ADAL" clId="{4FE49477-51F3-49C5-87DA-BEC44D187332}" dt="2025-12-03T16:11:36.817" v="635"/>
          <ac:spMkLst>
            <pc:docMk/>
            <pc:sldMk cId="2611591563" sldId="266"/>
            <ac:spMk id="157" creationId="{E4B815CD-BAFA-C773-C9DF-42A6EBBF8D94}"/>
          </ac:spMkLst>
        </pc:spChg>
        <pc:spChg chg="mod ord">
          <ac:chgData name="Lamprecht, Lucie (WBK)" userId="acba2c87-4988-427a-a7cc-13ce533c2154" providerId="ADAL" clId="{4FE49477-51F3-49C5-87DA-BEC44D187332}" dt="2025-12-03T16:11:36.821" v="679"/>
          <ac:spMkLst>
            <pc:docMk/>
            <pc:sldMk cId="2611591563" sldId="266"/>
            <ac:spMk id="165" creationId="{D3945E06-5C01-C4AC-C3DE-ABBFA676D4FE}"/>
          </ac:spMkLst>
        </pc:spChg>
        <pc:spChg chg="mod ord">
          <ac:chgData name="Lamprecht, Lucie (WBK)" userId="acba2c87-4988-427a-a7cc-13ce533c2154" providerId="ADAL" clId="{4FE49477-51F3-49C5-87DA-BEC44D187332}" dt="2025-12-03T19:47:07.041" v="720"/>
          <ac:spMkLst>
            <pc:docMk/>
            <pc:sldMk cId="2611591563" sldId="266"/>
            <ac:spMk id="166" creationId="{37A80C1F-4B6E-D99C-6AC9-61F6B40F6131}"/>
          </ac:spMkLst>
        </pc:spChg>
        <pc:spChg chg="mod ord">
          <ac:chgData name="Lamprecht, Lucie (WBK)" userId="acba2c87-4988-427a-a7cc-13ce533c2154" providerId="ADAL" clId="{4FE49477-51F3-49C5-87DA-BEC44D187332}" dt="2025-12-03T16:11:36.815" v="621"/>
          <ac:spMkLst>
            <pc:docMk/>
            <pc:sldMk cId="2611591563" sldId="266"/>
            <ac:spMk id="175" creationId="{46142A32-EE1D-A7D7-C7E5-55328FA7C5AB}"/>
          </ac:spMkLst>
        </pc:spChg>
        <pc:spChg chg="mod ord">
          <ac:chgData name="Lamprecht, Lucie (WBK)" userId="acba2c87-4988-427a-a7cc-13ce533c2154" providerId="ADAL" clId="{4FE49477-51F3-49C5-87DA-BEC44D187332}" dt="2025-12-03T16:11:36.815" v="623"/>
          <ac:spMkLst>
            <pc:docMk/>
            <pc:sldMk cId="2611591563" sldId="266"/>
            <ac:spMk id="178" creationId="{ED22139E-D807-BAE2-512A-8E0A873BE553}"/>
          </ac:spMkLst>
        </pc:spChg>
        <pc:spChg chg="mod ord">
          <ac:chgData name="Lamprecht, Lucie (WBK)" userId="acba2c87-4988-427a-a7cc-13ce533c2154" providerId="ADAL" clId="{4FE49477-51F3-49C5-87DA-BEC44D187332}" dt="2025-12-03T16:11:36.821" v="659"/>
          <ac:spMkLst>
            <pc:docMk/>
            <pc:sldMk cId="2611591563" sldId="266"/>
            <ac:spMk id="260" creationId="{F6D40B12-3AB3-2575-3260-319876A383B9}"/>
          </ac:spMkLst>
        </pc:spChg>
        <pc:spChg chg="add mod">
          <ac:chgData name="Lamprecht, Lucie (WBK)" userId="acba2c87-4988-427a-a7cc-13ce533c2154" providerId="ADAL" clId="{4FE49477-51F3-49C5-87DA-BEC44D187332}" dt="2025-12-03T16:11:12.577" v="568" actId="164"/>
          <ac:spMkLst>
            <pc:docMk/>
            <pc:sldMk cId="2611591563" sldId="266"/>
            <ac:spMk id="268" creationId="{89C5BB25-9269-4817-9D67-6A8117C19D62}"/>
          </ac:spMkLst>
        </pc:spChg>
        <pc:spChg chg="add mod">
          <ac:chgData name="Lamprecht, Lucie (WBK)" userId="acba2c87-4988-427a-a7cc-13ce533c2154" providerId="ADAL" clId="{4FE49477-51F3-49C5-87DA-BEC44D187332}" dt="2025-12-03T16:11:12.577" v="568" actId="164"/>
          <ac:spMkLst>
            <pc:docMk/>
            <pc:sldMk cId="2611591563" sldId="266"/>
            <ac:spMk id="269" creationId="{596EDB28-F921-4EB3-A2C7-2C2617FE6CD6}"/>
          </ac:spMkLst>
        </pc:spChg>
        <pc:spChg chg="mod ord">
          <ac:chgData name="Lamprecht, Lucie (WBK)" userId="acba2c87-4988-427a-a7cc-13ce533c2154" providerId="ADAL" clId="{4FE49477-51F3-49C5-87DA-BEC44D187332}" dt="2025-12-03T16:11:36.819" v="641"/>
          <ac:spMkLst>
            <pc:docMk/>
            <pc:sldMk cId="2611591563" sldId="266"/>
            <ac:spMk id="273" creationId="{D781D158-FA1F-D7A8-0FE7-78FCFED9FE60}"/>
          </ac:spMkLst>
        </pc:spChg>
        <pc:spChg chg="mod ord">
          <ac:chgData name="Lamprecht, Lucie (WBK)" userId="acba2c87-4988-427a-a7cc-13ce533c2154" providerId="ADAL" clId="{4FE49477-51F3-49C5-87DA-BEC44D187332}" dt="2025-12-03T16:11:36.819" v="643"/>
          <ac:spMkLst>
            <pc:docMk/>
            <pc:sldMk cId="2611591563" sldId="266"/>
            <ac:spMk id="274" creationId="{F18FD07A-DEC7-8F07-C366-353E6514C10A}"/>
          </ac:spMkLst>
        </pc:spChg>
        <pc:spChg chg="add mod">
          <ac:chgData name="Lamprecht, Lucie (WBK)" userId="acba2c87-4988-427a-a7cc-13ce533c2154" providerId="ADAL" clId="{4FE49477-51F3-49C5-87DA-BEC44D187332}" dt="2025-12-03T16:11:12.577" v="568" actId="164"/>
          <ac:spMkLst>
            <pc:docMk/>
            <pc:sldMk cId="2611591563" sldId="266"/>
            <ac:spMk id="278" creationId="{A73B22FF-8FB8-476B-A206-C789660FF18D}"/>
          </ac:spMkLst>
        </pc:spChg>
        <pc:spChg chg="add mod">
          <ac:chgData name="Lamprecht, Lucie (WBK)" userId="acba2c87-4988-427a-a7cc-13ce533c2154" providerId="ADAL" clId="{4FE49477-51F3-49C5-87DA-BEC44D187332}" dt="2025-12-03T16:11:12.577" v="568" actId="164"/>
          <ac:spMkLst>
            <pc:docMk/>
            <pc:sldMk cId="2611591563" sldId="266"/>
            <ac:spMk id="279" creationId="{B3D470D1-CC5D-4BF8-B5A3-C347217713DA}"/>
          </ac:spMkLst>
        </pc:spChg>
        <pc:spChg chg="mod ord">
          <ac:chgData name="Lamprecht, Lucie (WBK)" userId="acba2c87-4988-427a-a7cc-13ce533c2154" providerId="ADAL" clId="{4FE49477-51F3-49C5-87DA-BEC44D187332}" dt="2025-12-03T16:11:36.819" v="645"/>
          <ac:spMkLst>
            <pc:docMk/>
            <pc:sldMk cId="2611591563" sldId="266"/>
            <ac:spMk id="281" creationId="{1E4B35B3-024D-718A-175E-42E815B304A3}"/>
          </ac:spMkLst>
        </pc:spChg>
        <pc:spChg chg="mod ord">
          <ac:chgData name="Lamprecht, Lucie (WBK)" userId="acba2c87-4988-427a-a7cc-13ce533c2154" providerId="ADAL" clId="{4FE49477-51F3-49C5-87DA-BEC44D187332}" dt="2025-12-03T16:11:36.819" v="647"/>
          <ac:spMkLst>
            <pc:docMk/>
            <pc:sldMk cId="2611591563" sldId="266"/>
            <ac:spMk id="282" creationId="{C3521902-8A10-DCFB-CEF8-90A7B494D7AF}"/>
          </ac:spMkLst>
        </pc:spChg>
        <pc:spChg chg="mod ord">
          <ac:chgData name="Lamprecht, Lucie (WBK)" userId="acba2c87-4988-427a-a7cc-13ce533c2154" providerId="ADAL" clId="{4FE49477-51F3-49C5-87DA-BEC44D187332}" dt="2025-12-03T16:11:36.819" v="649"/>
          <ac:spMkLst>
            <pc:docMk/>
            <pc:sldMk cId="2611591563" sldId="266"/>
            <ac:spMk id="283" creationId="{E4D7507D-30A6-CA30-0662-090B01409F8D}"/>
          </ac:spMkLst>
        </pc:spChg>
        <pc:spChg chg="mod ord">
          <ac:chgData name="Lamprecht, Lucie (WBK)" userId="acba2c87-4988-427a-a7cc-13ce533c2154" providerId="ADAL" clId="{4FE49477-51F3-49C5-87DA-BEC44D187332}" dt="2025-12-03T16:11:36.819" v="651"/>
          <ac:spMkLst>
            <pc:docMk/>
            <pc:sldMk cId="2611591563" sldId="266"/>
            <ac:spMk id="284" creationId="{F9227E00-E186-CE7D-10D6-937EE2E4BE9C}"/>
          </ac:spMkLst>
        </pc:spChg>
        <pc:spChg chg="mod ord">
          <ac:chgData name="Lamprecht, Lucie (WBK)" userId="acba2c87-4988-427a-a7cc-13ce533c2154" providerId="ADAL" clId="{4FE49477-51F3-49C5-87DA-BEC44D187332}" dt="2025-12-03T16:11:36.821" v="653"/>
          <ac:spMkLst>
            <pc:docMk/>
            <pc:sldMk cId="2611591563" sldId="266"/>
            <ac:spMk id="285" creationId="{9677A41E-EFCE-0692-D4B4-35A91E516202}"/>
          </ac:spMkLst>
        </pc:spChg>
        <pc:spChg chg="mod ord">
          <ac:chgData name="Lamprecht, Lucie (WBK)" userId="acba2c87-4988-427a-a7cc-13ce533c2154" providerId="ADAL" clId="{4FE49477-51F3-49C5-87DA-BEC44D187332}" dt="2025-12-03T16:11:36.821" v="655"/>
          <ac:spMkLst>
            <pc:docMk/>
            <pc:sldMk cId="2611591563" sldId="266"/>
            <ac:spMk id="286" creationId="{C8529194-558F-5453-4D19-5883ED283EE4}"/>
          </ac:spMkLst>
        </pc:spChg>
        <pc:spChg chg="add mod">
          <ac:chgData name="Lamprecht, Lucie (WBK)" userId="acba2c87-4988-427a-a7cc-13ce533c2154" providerId="ADAL" clId="{4FE49477-51F3-49C5-87DA-BEC44D187332}" dt="2025-12-03T16:11:12.577" v="568" actId="164"/>
          <ac:spMkLst>
            <pc:docMk/>
            <pc:sldMk cId="2611591563" sldId="266"/>
            <ac:spMk id="288" creationId="{721D19CB-B483-45B5-84D9-F9CA77045E26}"/>
          </ac:spMkLst>
        </pc:spChg>
        <pc:spChg chg="mod ord">
          <ac:chgData name="Lamprecht, Lucie (WBK)" userId="acba2c87-4988-427a-a7cc-13ce533c2154" providerId="ADAL" clId="{4FE49477-51F3-49C5-87DA-BEC44D187332}" dt="2025-12-03T16:11:36.821" v="661"/>
          <ac:spMkLst>
            <pc:docMk/>
            <pc:sldMk cId="2611591563" sldId="266"/>
            <ac:spMk id="289" creationId="{9D5995C7-596B-07D0-1572-4C43EA61F6C1}"/>
          </ac:spMkLst>
        </pc:spChg>
        <pc:spChg chg="mod ord">
          <ac:chgData name="Lamprecht, Lucie (WBK)" userId="acba2c87-4988-427a-a7cc-13ce533c2154" providerId="ADAL" clId="{4FE49477-51F3-49C5-87DA-BEC44D187332}" dt="2025-12-03T16:11:36.821" v="663"/>
          <ac:spMkLst>
            <pc:docMk/>
            <pc:sldMk cId="2611591563" sldId="266"/>
            <ac:spMk id="290" creationId="{4031C18D-75D5-4AD6-FF1F-0CA287CE3B00}"/>
          </ac:spMkLst>
        </pc:spChg>
        <pc:spChg chg="mod ord">
          <ac:chgData name="Lamprecht, Lucie (WBK)" userId="acba2c87-4988-427a-a7cc-13ce533c2154" providerId="ADAL" clId="{4FE49477-51F3-49C5-87DA-BEC44D187332}" dt="2025-12-03T16:11:36.807" v="581"/>
          <ac:spMkLst>
            <pc:docMk/>
            <pc:sldMk cId="2611591563" sldId="266"/>
            <ac:spMk id="291" creationId="{75AC7C23-B429-4030-759A-EA839F471D2B}"/>
          </ac:spMkLst>
        </pc:spChg>
        <pc:spChg chg="add mod">
          <ac:chgData name="Lamprecht, Lucie (WBK)" userId="acba2c87-4988-427a-a7cc-13ce533c2154" providerId="ADAL" clId="{4FE49477-51F3-49C5-87DA-BEC44D187332}" dt="2025-12-03T16:11:12.577" v="568" actId="164"/>
          <ac:spMkLst>
            <pc:docMk/>
            <pc:sldMk cId="2611591563" sldId="266"/>
            <ac:spMk id="292" creationId="{9563CEBB-8D27-4AF5-A69C-8FD9A7BB0572}"/>
          </ac:spMkLst>
        </pc:spChg>
        <pc:spChg chg="mod ord">
          <ac:chgData name="Lamprecht, Lucie (WBK)" userId="acba2c87-4988-427a-a7cc-13ce533c2154" providerId="ADAL" clId="{4FE49477-51F3-49C5-87DA-BEC44D187332}" dt="2025-12-03T16:11:36.828" v="711"/>
          <ac:spMkLst>
            <pc:docMk/>
            <pc:sldMk cId="2611591563" sldId="266"/>
            <ac:spMk id="293" creationId="{6A426648-A00A-E771-D2D8-C5933BFC7667}"/>
          </ac:spMkLst>
        </pc:spChg>
        <pc:spChg chg="add del mod">
          <ac:chgData name="Lamprecht, Lucie (WBK)" userId="acba2c87-4988-427a-a7cc-13ce533c2154" providerId="ADAL" clId="{4FE49477-51F3-49C5-87DA-BEC44D187332}" dt="2025-12-03T16:10:10.895" v="540" actId="478"/>
          <ac:spMkLst>
            <pc:docMk/>
            <pc:sldMk cId="2611591563" sldId="266"/>
            <ac:spMk id="294" creationId="{A561A932-191B-4EAD-9B2F-AA25086E044A}"/>
          </ac:spMkLst>
        </pc:spChg>
        <pc:spChg chg="add del mod">
          <ac:chgData name="Lamprecht, Lucie (WBK)" userId="acba2c87-4988-427a-a7cc-13ce533c2154" providerId="ADAL" clId="{4FE49477-51F3-49C5-87DA-BEC44D187332}" dt="2025-12-03T16:10:12.042" v="541" actId="478"/>
          <ac:spMkLst>
            <pc:docMk/>
            <pc:sldMk cId="2611591563" sldId="266"/>
            <ac:spMk id="295" creationId="{CDD0C097-8378-4E92-8571-9A5224DB2856}"/>
          </ac:spMkLst>
        </pc:spChg>
        <pc:spChg chg="add del mod">
          <ac:chgData name="Lamprecht, Lucie (WBK)" userId="acba2c87-4988-427a-a7cc-13ce533c2154" providerId="ADAL" clId="{4FE49477-51F3-49C5-87DA-BEC44D187332}" dt="2025-12-03T16:10:12.993" v="542" actId="478"/>
          <ac:spMkLst>
            <pc:docMk/>
            <pc:sldMk cId="2611591563" sldId="266"/>
            <ac:spMk id="296" creationId="{F47A6006-4F15-4DCA-A8D4-0123F15D852A}"/>
          </ac:spMkLst>
        </pc:spChg>
        <pc:spChg chg="add mod">
          <ac:chgData name="Lamprecht, Lucie (WBK)" userId="acba2c87-4988-427a-a7cc-13ce533c2154" providerId="ADAL" clId="{4FE49477-51F3-49C5-87DA-BEC44D187332}" dt="2025-12-03T16:11:12.577" v="568" actId="164"/>
          <ac:spMkLst>
            <pc:docMk/>
            <pc:sldMk cId="2611591563" sldId="266"/>
            <ac:spMk id="297" creationId="{61FB45F9-93AF-45D7-8837-CFEE9C212532}"/>
          </ac:spMkLst>
        </pc:spChg>
        <pc:spChg chg="add mod">
          <ac:chgData name="Lamprecht, Lucie (WBK)" userId="acba2c87-4988-427a-a7cc-13ce533c2154" providerId="ADAL" clId="{4FE49477-51F3-49C5-87DA-BEC44D187332}" dt="2025-12-03T16:11:12.577" v="568" actId="164"/>
          <ac:spMkLst>
            <pc:docMk/>
            <pc:sldMk cId="2611591563" sldId="266"/>
            <ac:spMk id="298" creationId="{17D891BF-7EAF-46D5-9420-BA4EEC20215C}"/>
          </ac:spMkLst>
        </pc:spChg>
        <pc:spChg chg="add mod">
          <ac:chgData name="Lamprecht, Lucie (WBK)" userId="acba2c87-4988-427a-a7cc-13ce533c2154" providerId="ADAL" clId="{4FE49477-51F3-49C5-87DA-BEC44D187332}" dt="2025-12-03T16:11:12.577" v="568" actId="164"/>
          <ac:spMkLst>
            <pc:docMk/>
            <pc:sldMk cId="2611591563" sldId="266"/>
            <ac:spMk id="299" creationId="{0B23E997-2BB0-4B83-B941-02BC75F00BA6}"/>
          </ac:spMkLst>
        </pc:spChg>
        <pc:spChg chg="add mod">
          <ac:chgData name="Lamprecht, Lucie (WBK)" userId="acba2c87-4988-427a-a7cc-13ce533c2154" providerId="ADAL" clId="{4FE49477-51F3-49C5-87DA-BEC44D187332}" dt="2025-12-03T16:11:12.577" v="568" actId="164"/>
          <ac:spMkLst>
            <pc:docMk/>
            <pc:sldMk cId="2611591563" sldId="266"/>
            <ac:spMk id="300" creationId="{A8DE9270-35EF-48B4-9CF0-A6F2969AFB87}"/>
          </ac:spMkLst>
        </pc:spChg>
        <pc:spChg chg="mod ord">
          <ac:chgData name="Lamprecht, Lucie (WBK)" userId="acba2c87-4988-427a-a7cc-13ce533c2154" providerId="ADAL" clId="{4FE49477-51F3-49C5-87DA-BEC44D187332}" dt="2025-12-03T16:11:36.813" v="617"/>
          <ac:spMkLst>
            <pc:docMk/>
            <pc:sldMk cId="2611591563" sldId="266"/>
            <ac:spMk id="346" creationId="{D57B582C-D067-7FBA-E8BF-0C136FD3A389}"/>
          </ac:spMkLst>
        </pc:spChg>
        <pc:grpChg chg="mod ord">
          <ac:chgData name="Lamprecht, Lucie (WBK)" userId="acba2c87-4988-427a-a7cc-13ce533c2154" providerId="ADAL" clId="{4FE49477-51F3-49C5-87DA-BEC44D187332}" dt="2025-12-03T16:11:36.821" v="667"/>
          <ac:grpSpMkLst>
            <pc:docMk/>
            <pc:sldMk cId="2611591563" sldId="266"/>
            <ac:grpSpMk id="3" creationId="{A8AB5C9F-E6E2-EE11-3F5F-8B173E3A5EE9}"/>
          </ac:grpSpMkLst>
        </pc:grpChg>
        <pc:grpChg chg="mod ord">
          <ac:chgData name="Lamprecht, Lucie (WBK)" userId="acba2c87-4988-427a-a7cc-13ce533c2154" providerId="ADAL" clId="{4FE49477-51F3-49C5-87DA-BEC44D187332}" dt="2025-12-03T16:11:36.821" v="677"/>
          <ac:grpSpMkLst>
            <pc:docMk/>
            <pc:sldMk cId="2611591563" sldId="266"/>
            <ac:grpSpMk id="20" creationId="{261F287C-76BB-8026-81C2-549AF619E102}"/>
          </ac:grpSpMkLst>
        </pc:grpChg>
        <pc:grpChg chg="mod ord">
          <ac:chgData name="Lamprecht, Lucie (WBK)" userId="acba2c87-4988-427a-a7cc-13ce533c2154" providerId="ADAL" clId="{4FE49477-51F3-49C5-87DA-BEC44D187332}" dt="2025-12-03T16:11:36.821" v="683"/>
          <ac:grpSpMkLst>
            <pc:docMk/>
            <pc:sldMk cId="2611591563" sldId="266"/>
            <ac:grpSpMk id="27" creationId="{8785FDC0-5B79-7BE4-6BEB-11227CD08EF9}"/>
          </ac:grpSpMkLst>
        </pc:grpChg>
        <pc:grpChg chg="add mod">
          <ac:chgData name="Lamprecht, Lucie (WBK)" userId="acba2c87-4988-427a-a7cc-13ce533c2154" providerId="ADAL" clId="{4FE49477-51F3-49C5-87DA-BEC44D187332}" dt="2025-12-03T16:11:25.115" v="574" actId="164"/>
          <ac:grpSpMkLst>
            <pc:docMk/>
            <pc:sldMk cId="2611591563" sldId="266"/>
            <ac:grpSpMk id="41" creationId="{C3CB32D3-5740-4315-8621-20EED98A8AB3}"/>
          </ac:grpSpMkLst>
        </pc:grpChg>
        <pc:grpChg chg="add mod ord">
          <ac:chgData name="Lamprecht, Lucie (WBK)" userId="acba2c87-4988-427a-a7cc-13ce533c2154" providerId="ADAL" clId="{4FE49477-51F3-49C5-87DA-BEC44D187332}" dt="2025-12-03T16:11:36.828" v="709"/>
          <ac:grpSpMkLst>
            <pc:docMk/>
            <pc:sldMk cId="2611591563" sldId="266"/>
            <ac:grpSpMk id="42" creationId="{6AB867D0-18DB-45A0-B9C9-FEE8F625BDE0}"/>
          </ac:grpSpMkLst>
        </pc:grpChg>
        <pc:grpChg chg="mod ord">
          <ac:chgData name="Lamprecht, Lucie (WBK)" userId="acba2c87-4988-427a-a7cc-13ce533c2154" providerId="ADAL" clId="{4FE49477-51F3-49C5-87DA-BEC44D187332}" dt="2025-12-03T16:11:36.821" v="691"/>
          <ac:grpSpMkLst>
            <pc:docMk/>
            <pc:sldMk cId="2611591563" sldId="266"/>
            <ac:grpSpMk id="71" creationId="{4F2C33A0-61C5-0502-BEBC-8247EAD8C517}"/>
          </ac:grpSpMkLst>
        </pc:grpChg>
        <pc:grpChg chg="mod ord">
          <ac:chgData name="Lamprecht, Lucie (WBK)" userId="acba2c87-4988-427a-a7cc-13ce533c2154" providerId="ADAL" clId="{4FE49477-51F3-49C5-87DA-BEC44D187332}" dt="2025-12-03T16:11:36.813" v="615"/>
          <ac:grpSpMkLst>
            <pc:docMk/>
            <pc:sldMk cId="2611591563" sldId="266"/>
            <ac:grpSpMk id="86" creationId="{BDB132AB-85E7-5583-DEDA-B97D67898FDF}"/>
          </ac:grpSpMkLst>
        </pc:grpChg>
        <pc:grpChg chg="mod ord">
          <ac:chgData name="Lamprecht, Lucie (WBK)" userId="acba2c87-4988-427a-a7cc-13ce533c2154" providerId="ADAL" clId="{4FE49477-51F3-49C5-87DA-BEC44D187332}" dt="2025-12-03T16:11:36.815" v="629"/>
          <ac:grpSpMkLst>
            <pc:docMk/>
            <pc:sldMk cId="2611591563" sldId="266"/>
            <ac:grpSpMk id="151" creationId="{F32728E8-362D-D396-12FC-30AF8252A6A6}"/>
          </ac:grpSpMkLst>
        </pc:grpChg>
        <pc:grpChg chg="mod ord">
          <ac:chgData name="Lamprecht, Lucie (WBK)" userId="acba2c87-4988-427a-a7cc-13ce533c2154" providerId="ADAL" clId="{4FE49477-51F3-49C5-87DA-BEC44D187332}" dt="2025-12-03T16:11:36.821" v="657"/>
          <ac:grpSpMkLst>
            <pc:docMk/>
            <pc:sldMk cId="2611591563" sldId="266"/>
            <ac:grpSpMk id="259" creationId="{5A025968-BA32-E180-E2AB-641A6AC1B8C9}"/>
          </ac:grpSpMkLst>
        </pc:grpChg>
        <pc:grpChg chg="mod ord">
          <ac:chgData name="Lamprecht, Lucie (WBK)" userId="acba2c87-4988-427a-a7cc-13ce533c2154" providerId="ADAL" clId="{4FE49477-51F3-49C5-87DA-BEC44D187332}" dt="2025-12-03T16:11:36.817" v="639"/>
          <ac:grpSpMkLst>
            <pc:docMk/>
            <pc:sldMk cId="2611591563" sldId="266"/>
            <ac:grpSpMk id="280" creationId="{CEE2717B-00B7-EED6-158A-26B63F8890CE}"/>
          </ac:grpSpMkLst>
        </pc:grpChg>
        <pc:graphicFrameChg chg="add mod ord">
          <ac:chgData name="Lamprecht, Lucie (WBK)" userId="acba2c87-4988-427a-a7cc-13ce533c2154" providerId="ADAL" clId="{4FE49477-51F3-49C5-87DA-BEC44D187332}" dt="2025-12-03T16:11:36.828" v="713"/>
          <ac:graphicFrameMkLst>
            <pc:docMk/>
            <pc:sldMk cId="2611591563" sldId="266"/>
            <ac:graphicFrameMk id="261" creationId="{03789B16-32AE-4371-BAE1-B07A5D59DE3B}"/>
          </ac:graphicFrameMkLst>
        </pc:graphicFrameChg>
        <pc:picChg chg="mod ord">
          <ac:chgData name="Lamprecht, Lucie (WBK)" userId="acba2c87-4988-427a-a7cc-13ce533c2154" providerId="ADAL" clId="{4FE49477-51F3-49C5-87DA-BEC44D187332}" dt="2025-12-03T16:11:36.821" v="669"/>
          <ac:picMkLst>
            <pc:docMk/>
            <pc:sldMk cId="2611591563" sldId="266"/>
            <ac:picMk id="14" creationId="{DB6E0422-E153-597B-5F91-737AE45EF6FF}"/>
          </ac:picMkLst>
        </pc:picChg>
        <pc:picChg chg="mod ord">
          <ac:chgData name="Lamprecht, Lucie (WBK)" userId="acba2c87-4988-427a-a7cc-13ce533c2154" providerId="ADAL" clId="{4FE49477-51F3-49C5-87DA-BEC44D187332}" dt="2025-12-03T16:11:36.821" v="671"/>
          <ac:picMkLst>
            <pc:docMk/>
            <pc:sldMk cId="2611591563" sldId="266"/>
            <ac:picMk id="15" creationId="{83372948-E9F8-B25D-7665-07F1453E0111}"/>
          </ac:picMkLst>
        </pc:picChg>
        <pc:picChg chg="mod ord">
          <ac:chgData name="Lamprecht, Lucie (WBK)" userId="acba2c87-4988-427a-a7cc-13ce533c2154" providerId="ADAL" clId="{4FE49477-51F3-49C5-87DA-BEC44D187332}" dt="2025-12-03T16:11:25.115" v="574" actId="164"/>
          <ac:picMkLst>
            <pc:docMk/>
            <pc:sldMk cId="2611591563" sldId="266"/>
            <ac:picMk id="38" creationId="{57B1A188-D3E7-C073-D5C5-1012C0EA2176}"/>
          </ac:picMkLst>
        </pc:picChg>
        <pc:picChg chg="mod ord">
          <ac:chgData name="Lamprecht, Lucie (WBK)" userId="acba2c87-4988-427a-a7cc-13ce533c2154" providerId="ADAL" clId="{4FE49477-51F3-49C5-87DA-BEC44D187332}" dt="2025-12-03T16:11:36.813" v="613"/>
          <ac:picMkLst>
            <pc:docMk/>
            <pc:sldMk cId="2611591563" sldId="266"/>
            <ac:picMk id="85" creationId="{94B1B3DD-64F0-AF42-077B-D2125CFC0930}"/>
          </ac:picMkLst>
        </pc:picChg>
        <pc:picChg chg="mod ord">
          <ac:chgData name="Lamprecht, Lucie (WBK)" userId="acba2c87-4988-427a-a7cc-13ce533c2154" providerId="ADAL" clId="{4FE49477-51F3-49C5-87DA-BEC44D187332}" dt="2025-12-03T16:11:36.828" v="697"/>
          <ac:picMkLst>
            <pc:docMk/>
            <pc:sldMk cId="2611591563" sldId="266"/>
            <ac:picMk id="147" creationId="{501E940D-3CF8-7446-62DC-C986A920ED74}"/>
          </ac:picMkLst>
        </pc:picChg>
        <pc:picChg chg="mod ord">
          <ac:chgData name="Lamprecht, Lucie (WBK)" userId="acba2c87-4988-427a-a7cc-13ce533c2154" providerId="ADAL" clId="{4FE49477-51F3-49C5-87DA-BEC44D187332}" dt="2025-12-03T16:11:36.815" v="625"/>
          <ac:picMkLst>
            <pc:docMk/>
            <pc:sldMk cId="2611591563" sldId="266"/>
            <ac:picMk id="148" creationId="{15977355-D39E-D0D4-71BC-9E5E98385924}"/>
          </ac:picMkLst>
        </pc:picChg>
        <pc:picChg chg="mod ord">
          <ac:chgData name="Lamprecht, Lucie (WBK)" userId="acba2c87-4988-427a-a7cc-13ce533c2154" providerId="ADAL" clId="{4FE49477-51F3-49C5-87DA-BEC44D187332}" dt="2025-12-03T16:11:36.828" v="699"/>
          <ac:picMkLst>
            <pc:docMk/>
            <pc:sldMk cId="2611591563" sldId="266"/>
            <ac:picMk id="149" creationId="{1566FFCF-8CDD-4D85-38F4-A7030F450ECE}"/>
          </ac:picMkLst>
        </pc:picChg>
        <pc:picChg chg="mod ord">
          <ac:chgData name="Lamprecht, Lucie (WBK)" userId="acba2c87-4988-427a-a7cc-13ce533c2154" providerId="ADAL" clId="{4FE49477-51F3-49C5-87DA-BEC44D187332}" dt="2025-12-03T16:11:36.817" v="631"/>
          <ac:picMkLst>
            <pc:docMk/>
            <pc:sldMk cId="2611591563" sldId="266"/>
            <ac:picMk id="154" creationId="{7D27479E-5019-9925-79D7-C091C2197EC4}"/>
          </ac:picMkLst>
        </pc:picChg>
        <pc:picChg chg="mod ord">
          <ac:chgData name="Lamprecht, Lucie (WBK)" userId="acba2c87-4988-427a-a7cc-13ce533c2154" providerId="ADAL" clId="{4FE49477-51F3-49C5-87DA-BEC44D187332}" dt="2025-12-03T16:11:36.807" v="583"/>
          <ac:picMkLst>
            <pc:docMk/>
            <pc:sldMk cId="2611591563" sldId="266"/>
            <ac:picMk id="287" creationId="{13189841-542E-2A17-C396-B9B9EBA5204E}"/>
          </ac:picMkLst>
        </pc:picChg>
        <pc:cxnChg chg="mod ord">
          <ac:chgData name="Lamprecht, Lucie (WBK)" userId="acba2c87-4988-427a-a7cc-13ce533c2154" providerId="ADAL" clId="{4FE49477-51F3-49C5-87DA-BEC44D187332}" dt="2025-12-03T16:11:36.811" v="599"/>
          <ac:cxnSpMkLst>
            <pc:docMk/>
            <pc:sldMk cId="2611591563" sldId="266"/>
            <ac:cxnSpMk id="50" creationId="{5B910645-AE71-CA19-3014-2F5E1A481D52}"/>
          </ac:cxnSpMkLst>
        </pc:cxnChg>
        <pc:cxnChg chg="mod ord">
          <ac:chgData name="Lamprecht, Lucie (WBK)" userId="acba2c87-4988-427a-a7cc-13ce533c2154" providerId="ADAL" clId="{4FE49477-51F3-49C5-87DA-BEC44D187332}" dt="2025-12-03T16:11:36.811" v="601"/>
          <ac:cxnSpMkLst>
            <pc:docMk/>
            <pc:sldMk cId="2611591563" sldId="266"/>
            <ac:cxnSpMk id="52" creationId="{3C3C70C0-5A23-EC04-567B-8522286CEBEC}"/>
          </ac:cxnSpMkLst>
        </pc:cxnChg>
        <pc:cxnChg chg="mod ord">
          <ac:chgData name="Lamprecht, Lucie (WBK)" userId="acba2c87-4988-427a-a7cc-13ce533c2154" providerId="ADAL" clId="{4FE49477-51F3-49C5-87DA-BEC44D187332}" dt="2025-12-03T16:11:36.811" v="603"/>
          <ac:cxnSpMkLst>
            <pc:docMk/>
            <pc:sldMk cId="2611591563" sldId="266"/>
            <ac:cxnSpMk id="55" creationId="{ED996977-4795-5DE0-7F45-CD9FEB0DCB87}"/>
          </ac:cxnSpMkLst>
        </pc:cxnChg>
        <pc:cxnChg chg="mod ord">
          <ac:chgData name="Lamprecht, Lucie (WBK)" userId="acba2c87-4988-427a-a7cc-13ce533c2154" providerId="ADAL" clId="{4FE49477-51F3-49C5-87DA-BEC44D187332}" dt="2025-12-03T16:11:36.811" v="605"/>
          <ac:cxnSpMkLst>
            <pc:docMk/>
            <pc:sldMk cId="2611591563" sldId="266"/>
            <ac:cxnSpMk id="56" creationId="{7616E420-601A-2CC1-82BF-B7F9E5F4814A}"/>
          </ac:cxnSpMkLst>
        </pc:cxnChg>
        <pc:cxnChg chg="mod ord">
          <ac:chgData name="Lamprecht, Lucie (WBK)" userId="acba2c87-4988-427a-a7cc-13ce533c2154" providerId="ADAL" clId="{4FE49477-51F3-49C5-87DA-BEC44D187332}" dt="2025-12-03T16:11:36.817" v="637"/>
          <ac:cxnSpMkLst>
            <pc:docMk/>
            <pc:sldMk cId="2611591563" sldId="266"/>
            <ac:cxnSpMk id="162" creationId="{5B733269-BD31-FAFC-5B59-CC915336828B}"/>
          </ac:cxnSpMkLst>
        </pc:cxnChg>
      </pc:sldChg>
      <pc:sldMasterChg chg="modSp">
        <pc:chgData name="Lamprecht, Lucie (WBK)" userId="acba2c87-4988-427a-a7cc-13ce533c2154" providerId="ADAL" clId="{4FE49477-51F3-49C5-87DA-BEC44D187332}" dt="2025-11-29T18:37:25.775" v="19"/>
        <pc:sldMasterMkLst>
          <pc:docMk/>
          <pc:sldMasterMk cId="3669275000" sldId="2147483799"/>
        </pc:sldMasterMkLst>
        <pc:spChg chg="mod">
          <ac:chgData name="Lamprecht, Lucie (WBK)" userId="acba2c87-4988-427a-a7cc-13ce533c2154" providerId="ADAL" clId="{4FE49477-51F3-49C5-87DA-BEC44D187332}" dt="2025-11-29T18:36:55.467" v="6" actId="1076"/>
          <ac:spMkLst>
            <pc:docMk/>
            <pc:sldMasterMk cId="3669275000" sldId="2147483799"/>
            <ac:spMk id="36" creationId="{89A4E53B-89C8-4892-BAD0-A1321C93E9EB}"/>
          </ac:spMkLst>
        </pc:spChg>
        <pc:spChg chg="mod">
          <ac:chgData name="Lamprecht, Lucie (WBK)" userId="acba2c87-4988-427a-a7cc-13ce533c2154" providerId="ADAL" clId="{4FE49477-51F3-49C5-87DA-BEC44D187332}" dt="2025-11-29T18:36:55.950" v="7" actId="1076"/>
          <ac:spMkLst>
            <pc:docMk/>
            <pc:sldMasterMk cId="3669275000" sldId="2147483799"/>
            <ac:spMk id="37" creationId="{BECCA9B8-1CDD-4550-88DC-50037252E400}"/>
          </ac:spMkLst>
        </pc:spChg>
        <pc:graphicFrameChg chg="mod">
          <ac:chgData name="Lamprecht, Lucie (WBK)" userId="acba2c87-4988-427a-a7cc-13ce533c2154" providerId="ADAL" clId="{4FE49477-51F3-49C5-87DA-BEC44D187332}" dt="2025-11-29T18:37:25.775" v="19"/>
          <ac:graphicFrameMkLst>
            <pc:docMk/>
            <pc:sldMasterMk cId="3669275000" sldId="2147483799"/>
            <ac:graphicFrameMk id="4" creationId="{BF958CA3-7F7F-4A37-9199-0152D5D3A6E6}"/>
          </ac:graphicFrameMkLst>
        </pc:graphicFrame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924303-A1C0-4A17-9171-F7D7FCC9B5D8}" type="datetimeFigureOut">
              <a:rPr lang="en-US" smtClean="0"/>
              <a:t>12/17/2025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F2F2B1-53D7-425E-A8EB-9EC917CC24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8527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C86C3A-F398-416F-BE7E-2A4407901BD4}" type="datetimeFigureOut">
              <a:rPr lang="de-DE" smtClean="0"/>
              <a:t>17.1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B5A886-21D0-411E-A9F7-75D8F6825E4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52378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3507730" rtl="0" eaLnBrk="1" latinLnBrk="0" hangingPunct="1">
      <a:defRPr sz="4603" kern="1200">
        <a:solidFill>
          <a:schemeClr val="tx1"/>
        </a:solidFill>
        <a:latin typeface="+mn-lt"/>
        <a:ea typeface="+mn-ea"/>
        <a:cs typeface="+mn-cs"/>
      </a:defRPr>
    </a:lvl1pPr>
    <a:lvl2pPr marL="1753865" algn="l" defTabSz="3507730" rtl="0" eaLnBrk="1" latinLnBrk="0" hangingPunct="1">
      <a:defRPr sz="4603" kern="1200">
        <a:solidFill>
          <a:schemeClr val="tx1"/>
        </a:solidFill>
        <a:latin typeface="+mn-lt"/>
        <a:ea typeface="+mn-ea"/>
        <a:cs typeface="+mn-cs"/>
      </a:defRPr>
    </a:lvl2pPr>
    <a:lvl3pPr marL="3507730" algn="l" defTabSz="3507730" rtl="0" eaLnBrk="1" latinLnBrk="0" hangingPunct="1">
      <a:defRPr sz="4603" kern="1200">
        <a:solidFill>
          <a:schemeClr val="tx1"/>
        </a:solidFill>
        <a:latin typeface="+mn-lt"/>
        <a:ea typeface="+mn-ea"/>
        <a:cs typeface="+mn-cs"/>
      </a:defRPr>
    </a:lvl3pPr>
    <a:lvl4pPr marL="5261595" algn="l" defTabSz="3507730" rtl="0" eaLnBrk="1" latinLnBrk="0" hangingPunct="1">
      <a:defRPr sz="4603" kern="1200">
        <a:solidFill>
          <a:schemeClr val="tx1"/>
        </a:solidFill>
        <a:latin typeface="+mn-lt"/>
        <a:ea typeface="+mn-ea"/>
        <a:cs typeface="+mn-cs"/>
      </a:defRPr>
    </a:lvl4pPr>
    <a:lvl5pPr marL="7015460" algn="l" defTabSz="3507730" rtl="0" eaLnBrk="1" latinLnBrk="0" hangingPunct="1">
      <a:defRPr sz="4603" kern="1200">
        <a:solidFill>
          <a:schemeClr val="tx1"/>
        </a:solidFill>
        <a:latin typeface="+mn-lt"/>
        <a:ea typeface="+mn-ea"/>
        <a:cs typeface="+mn-cs"/>
      </a:defRPr>
    </a:lvl5pPr>
    <a:lvl6pPr marL="8769325" algn="l" defTabSz="3507730" rtl="0" eaLnBrk="1" latinLnBrk="0" hangingPunct="1">
      <a:defRPr sz="4603" kern="1200">
        <a:solidFill>
          <a:schemeClr val="tx1"/>
        </a:solidFill>
        <a:latin typeface="+mn-lt"/>
        <a:ea typeface="+mn-ea"/>
        <a:cs typeface="+mn-cs"/>
      </a:defRPr>
    </a:lvl6pPr>
    <a:lvl7pPr marL="10523190" algn="l" defTabSz="3507730" rtl="0" eaLnBrk="1" latinLnBrk="0" hangingPunct="1">
      <a:defRPr sz="4603" kern="1200">
        <a:solidFill>
          <a:schemeClr val="tx1"/>
        </a:solidFill>
        <a:latin typeface="+mn-lt"/>
        <a:ea typeface="+mn-ea"/>
        <a:cs typeface="+mn-cs"/>
      </a:defRPr>
    </a:lvl7pPr>
    <a:lvl8pPr marL="12277054" algn="l" defTabSz="3507730" rtl="0" eaLnBrk="1" latinLnBrk="0" hangingPunct="1">
      <a:defRPr sz="4603" kern="1200">
        <a:solidFill>
          <a:schemeClr val="tx1"/>
        </a:solidFill>
        <a:latin typeface="+mn-lt"/>
        <a:ea typeface="+mn-ea"/>
        <a:cs typeface="+mn-cs"/>
      </a:defRPr>
    </a:lvl8pPr>
    <a:lvl9pPr marL="14030919" algn="l" defTabSz="3507730" rtl="0" eaLnBrk="1" latinLnBrk="0" hangingPunct="1">
      <a:defRPr sz="460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8314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96382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9155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5091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7785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54577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48096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pn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2.bin"/><Relationship Id="rId5" Type="http://schemas.openxmlformats.org/officeDocument/2006/relationships/tags" Target="../tags/tag2.xml"/><Relationship Id="rId10" Type="http://schemas.openxmlformats.org/officeDocument/2006/relationships/image" Target="../media/image4.png"/><Relationship Id="rId4" Type="http://schemas.openxmlformats.org/officeDocument/2006/relationships/vmlDrawing" Target="../drawings/vmlDrawing2.vml"/><Relationship Id="rId9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13" Type="http://schemas.openxmlformats.org/officeDocument/2006/relationships/image" Target="../media/image8.png"/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6.png"/><Relationship Id="rId5" Type="http://schemas.openxmlformats.org/officeDocument/2006/relationships/tags" Target="../tags/tag3.xml"/><Relationship Id="rId10" Type="http://schemas.openxmlformats.org/officeDocument/2006/relationships/image" Target="../media/image4.png"/><Relationship Id="rId4" Type="http://schemas.openxmlformats.org/officeDocument/2006/relationships/vmlDrawing" Target="../drawings/vmlDrawing3.v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0F2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D2592D2-F342-4489-B220-8579A363A868}"/>
              </a:ext>
            </a:extLst>
          </p:cNvPr>
          <p:cNvGraphicFramePr>
            <a:graphicFrameLocks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78439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7" imgW="391" imgH="391" progId="TCLayout.ActiveDocument.1">
                  <p:embed/>
                </p:oleObj>
              </mc:Choice>
              <mc:Fallback>
                <p:oleObj name="think-cell Folie" r:id="rId7" imgW="391" imgH="3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2592D2-F342-4489-B220-8579A363A8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Rechteck 110"/>
          <p:cNvSpPr/>
          <p:nvPr userDrawn="1"/>
        </p:nvSpPr>
        <p:spPr>
          <a:xfrm>
            <a:off x="0" y="21532645"/>
            <a:ext cx="30274813" cy="134104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feld 23"/>
          <p:cNvSpPr txBox="1"/>
          <p:nvPr userDrawn="1"/>
        </p:nvSpPr>
        <p:spPr>
          <a:xfrm>
            <a:off x="-2" y="20791253"/>
            <a:ext cx="30276000" cy="861774"/>
          </a:xfrm>
          <a:prstGeom prst="rect">
            <a:avLst/>
          </a:prstGeom>
          <a:solidFill>
            <a:srgbClr val="83B725"/>
          </a:solidFill>
        </p:spPr>
        <p:txBody>
          <a:bodyPr wrap="square" rtlCol="0" anchor="ctr">
            <a:spAutoFit/>
          </a:bodyPr>
          <a:lstStyle/>
          <a:p>
            <a:pPr marL="1620000"/>
            <a:r>
              <a:rPr lang="de-DE" sz="5000" b="1">
                <a:solidFill>
                  <a:schemeClr val="bg1"/>
                </a:solidFill>
              </a:rPr>
              <a:t>Methoden</a:t>
            </a:r>
          </a:p>
        </p:txBody>
      </p:sp>
      <p:sp>
        <p:nvSpPr>
          <p:cNvPr id="112" name="Rechteck 111"/>
          <p:cNvSpPr/>
          <p:nvPr userDrawn="1"/>
        </p:nvSpPr>
        <p:spPr>
          <a:xfrm>
            <a:off x="0" y="36063833"/>
            <a:ext cx="30275213" cy="31432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30276000" cy="58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/>
          <p:cNvSpPr/>
          <p:nvPr userDrawn="1"/>
        </p:nvSpPr>
        <p:spPr>
          <a:xfrm>
            <a:off x="-1187" y="39878000"/>
            <a:ext cx="30276000" cy="2925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 userDrawn="1"/>
        </p:nvSpPr>
        <p:spPr>
          <a:xfrm>
            <a:off x="0" y="3655937"/>
            <a:ext cx="30276000" cy="16312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620000"/>
            <a:r>
              <a:rPr lang="de-DE" sz="5000" dirty="0">
                <a:solidFill>
                  <a:schemeClr val="tx1"/>
                </a:solidFill>
              </a:rPr>
              <a:t>Prof.</a:t>
            </a:r>
            <a:r>
              <a:rPr lang="de-DE" sz="5000" baseline="0" dirty="0">
                <a:solidFill>
                  <a:schemeClr val="tx1"/>
                </a:solidFill>
              </a:rPr>
              <a:t> Dr.-Ing. Petra Wiederkehr, Prof. Dr.-Ing. Gisela Lanza, </a:t>
            </a:r>
            <a:endParaRPr lang="de-DE" sz="5000" baseline="0" dirty="0" smtClean="0">
              <a:solidFill>
                <a:schemeClr val="tx1"/>
              </a:solidFill>
            </a:endParaRPr>
          </a:p>
          <a:p>
            <a:pPr marL="1620000"/>
            <a:r>
              <a:rPr lang="de-DE" sz="5000" baseline="0" dirty="0" smtClean="0">
                <a:solidFill>
                  <a:schemeClr val="tx1"/>
                </a:solidFill>
              </a:rPr>
              <a:t>Prof</a:t>
            </a:r>
            <a:r>
              <a:rPr lang="de-DE" sz="5000" baseline="0" dirty="0">
                <a:solidFill>
                  <a:schemeClr val="tx1"/>
                </a:solidFill>
              </a:rPr>
              <a:t>. Dr.-Ing. Florian Stamer</a:t>
            </a:r>
            <a:endParaRPr lang="de-DE" sz="5000" dirty="0">
              <a:solidFill>
                <a:schemeClr val="tx1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C4C36E76-2C28-4FFE-B9F5-BF05D6D7A20B}"/>
              </a:ext>
            </a:extLst>
          </p:cNvPr>
          <p:cNvSpPr txBox="1"/>
          <p:nvPr userDrawn="1"/>
        </p:nvSpPr>
        <p:spPr>
          <a:xfrm>
            <a:off x="1636713" y="1314829"/>
            <a:ext cx="1771118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200">
                <a:latin typeface="Arial Rounded MT Bold" panose="020F0704030504030204" pitchFamily="34" charset="0"/>
              </a:rPr>
              <a:t>TP 1: Entwicklung prozessinformierter Modelle für die NC-Fräsbearbeitung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0A7C3CE-04B6-4A9C-B698-58299BD50AF5}"/>
              </a:ext>
            </a:extLst>
          </p:cNvPr>
          <p:cNvGrpSpPr/>
          <p:nvPr userDrawn="1"/>
        </p:nvGrpSpPr>
        <p:grpSpPr>
          <a:xfrm>
            <a:off x="3542435" y="40548881"/>
            <a:ext cx="23190343" cy="1584000"/>
            <a:chOff x="2802049" y="39948254"/>
            <a:chExt cx="23190343" cy="1584000"/>
          </a:xfrm>
        </p:grpSpPr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02049" y="39948254"/>
              <a:ext cx="9818018" cy="1584000"/>
            </a:xfrm>
            <a:prstGeom prst="rect">
              <a:avLst/>
            </a:prstGeom>
          </p:spPr>
        </p:pic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8536268A-215E-4DA4-900E-A27480AD04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75545" y="39948254"/>
              <a:ext cx="3167999" cy="1584000"/>
            </a:xfrm>
            <a:prstGeom prst="rect">
              <a:avLst/>
            </a:prstGeom>
          </p:spPr>
        </p:pic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5B39D2E5-A8DA-4406-BAD5-57D93427078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2390"/>
            <a:stretch/>
          </p:blipFill>
          <p:spPr>
            <a:xfrm>
              <a:off x="18099023" y="39948254"/>
              <a:ext cx="7893369" cy="1584000"/>
            </a:xfrm>
            <a:prstGeom prst="rect">
              <a:avLst/>
            </a:prstGeom>
          </p:spPr>
        </p:pic>
      </p:grpSp>
      <p:sp>
        <p:nvSpPr>
          <p:cNvPr id="25" name="Textfeld 24"/>
          <p:cNvSpPr txBox="1"/>
          <p:nvPr userDrawn="1"/>
        </p:nvSpPr>
        <p:spPr>
          <a:xfrm>
            <a:off x="0" y="35407459"/>
            <a:ext cx="30276000" cy="861774"/>
          </a:xfrm>
          <a:prstGeom prst="rect">
            <a:avLst/>
          </a:prstGeom>
          <a:solidFill>
            <a:srgbClr val="83B725"/>
          </a:solidFill>
        </p:spPr>
        <p:txBody>
          <a:bodyPr wrap="square" rtlCol="0" anchor="ctr">
            <a:spAutoFit/>
          </a:bodyPr>
          <a:lstStyle/>
          <a:p>
            <a:pPr marL="1620000"/>
            <a:r>
              <a:rPr lang="de-DE" sz="5000" b="1">
                <a:solidFill>
                  <a:schemeClr val="bg1"/>
                </a:solidFill>
              </a:rPr>
              <a:t>Ausblick Phase II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9A4E53B-89C8-4892-BAD0-A1321C93E9EB}"/>
              </a:ext>
            </a:extLst>
          </p:cNvPr>
          <p:cNvSpPr/>
          <p:nvPr userDrawn="1"/>
        </p:nvSpPr>
        <p:spPr>
          <a:xfrm>
            <a:off x="0" y="6125300"/>
            <a:ext cx="28620000" cy="1080000"/>
          </a:xfrm>
          <a:prstGeom prst="rect">
            <a:avLst/>
          </a:prstGeom>
          <a:solidFill>
            <a:srgbClr val="E0F2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hteck 2"/>
          <p:cNvSpPr/>
          <p:nvPr userDrawn="1"/>
        </p:nvSpPr>
        <p:spPr>
          <a:xfrm>
            <a:off x="-1186" y="7082360"/>
            <a:ext cx="30276000" cy="132589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BECCA9B8-1CDD-4550-88DC-50037252E400}"/>
              </a:ext>
            </a:extLst>
          </p:cNvPr>
          <p:cNvSpPr txBox="1"/>
          <p:nvPr userDrawn="1"/>
        </p:nvSpPr>
        <p:spPr>
          <a:xfrm>
            <a:off x="0" y="6271526"/>
            <a:ext cx="30276000" cy="861774"/>
          </a:xfrm>
          <a:prstGeom prst="rect">
            <a:avLst/>
          </a:prstGeom>
          <a:solidFill>
            <a:srgbClr val="83B725"/>
          </a:solidFill>
        </p:spPr>
        <p:txBody>
          <a:bodyPr wrap="square" rtlCol="0" anchor="ctr">
            <a:spAutoFit/>
          </a:bodyPr>
          <a:lstStyle/>
          <a:p>
            <a:pPr marL="1620000"/>
            <a:r>
              <a:rPr lang="de-DE" sz="5000" b="1">
                <a:solidFill>
                  <a:schemeClr val="bg1"/>
                </a:solidFill>
              </a:rPr>
              <a:t>Eigene Vorarbeiten</a:t>
            </a: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0455274B-5D36-4EF3-9C83-846148763591}"/>
              </a:ext>
            </a:extLst>
          </p:cNvPr>
          <p:cNvSpPr txBox="1"/>
          <p:nvPr userDrawn="1"/>
        </p:nvSpPr>
        <p:spPr>
          <a:xfrm>
            <a:off x="0" y="35392953"/>
            <a:ext cx="30276000" cy="861774"/>
          </a:xfrm>
          <a:prstGeom prst="rect">
            <a:avLst/>
          </a:prstGeom>
          <a:solidFill>
            <a:srgbClr val="83B725"/>
          </a:solidFill>
        </p:spPr>
        <p:txBody>
          <a:bodyPr wrap="square" rtlCol="0" anchor="ctr">
            <a:spAutoFit/>
          </a:bodyPr>
          <a:lstStyle/>
          <a:p>
            <a:pPr marL="1620000"/>
            <a:r>
              <a:rPr lang="de-DE" sz="5000" b="1">
                <a:solidFill>
                  <a:schemeClr val="bg1"/>
                </a:solidFill>
              </a:rPr>
              <a:t>Ausblick Phase II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3279B7E-9608-4DB0-71EE-C5A3AF065605}"/>
              </a:ext>
            </a:extLst>
          </p:cNvPr>
          <p:cNvSpPr txBox="1"/>
          <p:nvPr userDrawn="1"/>
        </p:nvSpPr>
        <p:spPr>
          <a:xfrm>
            <a:off x="-2372" y="20359126"/>
            <a:ext cx="30276000" cy="432000"/>
          </a:xfrm>
          <a:prstGeom prst="rect">
            <a:avLst/>
          </a:prstGeom>
          <a:solidFill>
            <a:srgbClr val="E0F2C0">
              <a:alpha val="50196"/>
            </a:srgbClr>
          </a:solidFill>
        </p:spPr>
        <p:txBody>
          <a:bodyPr wrap="square" rtlCol="0" anchor="ctr">
            <a:spAutoFit/>
          </a:bodyPr>
          <a:lstStyle/>
          <a:p>
            <a:pPr marL="1620000"/>
            <a:endParaRPr lang="de-DE" sz="5000" b="1">
              <a:solidFill>
                <a:schemeClr val="bg1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63335DC-A96C-461C-E236-FC45560CF18E}"/>
              </a:ext>
            </a:extLst>
          </p:cNvPr>
          <p:cNvSpPr txBox="1"/>
          <p:nvPr userDrawn="1"/>
        </p:nvSpPr>
        <p:spPr>
          <a:xfrm>
            <a:off x="-2372" y="5835429"/>
            <a:ext cx="30276000" cy="439200"/>
          </a:xfrm>
          <a:prstGeom prst="rect">
            <a:avLst/>
          </a:prstGeom>
          <a:solidFill>
            <a:srgbClr val="E0F2C0">
              <a:alpha val="50196"/>
            </a:srgbClr>
          </a:solidFill>
        </p:spPr>
        <p:txBody>
          <a:bodyPr wrap="square" rtlCol="0" anchor="ctr">
            <a:spAutoFit/>
          </a:bodyPr>
          <a:lstStyle/>
          <a:p>
            <a:pPr marL="1620000"/>
            <a:endParaRPr lang="de-DE" sz="5000" b="1">
              <a:solidFill>
                <a:schemeClr val="bg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FF2A7C4-39AA-ED11-87A1-EDAD99918669}"/>
              </a:ext>
            </a:extLst>
          </p:cNvPr>
          <p:cNvSpPr txBox="1"/>
          <p:nvPr userDrawn="1"/>
        </p:nvSpPr>
        <p:spPr>
          <a:xfrm>
            <a:off x="-2372" y="34953751"/>
            <a:ext cx="30276000" cy="439200"/>
          </a:xfrm>
          <a:prstGeom prst="rect">
            <a:avLst/>
          </a:prstGeom>
          <a:solidFill>
            <a:srgbClr val="E0F2C0">
              <a:alpha val="50196"/>
            </a:srgbClr>
          </a:solidFill>
        </p:spPr>
        <p:txBody>
          <a:bodyPr wrap="square" rtlCol="0" anchor="ctr">
            <a:spAutoFit/>
          </a:bodyPr>
          <a:lstStyle/>
          <a:p>
            <a:pPr marL="1620000"/>
            <a:endParaRPr lang="de-DE" sz="5000" b="1">
              <a:solidFill>
                <a:schemeClr val="bg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5F6AE40-34B4-B0AF-BCC9-5238A9FE9EE9}"/>
              </a:ext>
            </a:extLst>
          </p:cNvPr>
          <p:cNvSpPr txBox="1"/>
          <p:nvPr userDrawn="1"/>
        </p:nvSpPr>
        <p:spPr>
          <a:xfrm>
            <a:off x="0" y="39232619"/>
            <a:ext cx="30276000" cy="648000"/>
          </a:xfrm>
          <a:prstGeom prst="rect">
            <a:avLst/>
          </a:prstGeom>
          <a:solidFill>
            <a:srgbClr val="E0F2C0">
              <a:alpha val="50196"/>
            </a:srgbClr>
          </a:solidFill>
        </p:spPr>
        <p:txBody>
          <a:bodyPr wrap="square" rtlCol="0" anchor="ctr">
            <a:spAutoFit/>
          </a:bodyPr>
          <a:lstStyle/>
          <a:p>
            <a:pPr marL="1620000"/>
            <a:endParaRPr lang="de-DE" sz="5000" b="1">
              <a:solidFill>
                <a:schemeClr val="bg1"/>
              </a:solidFill>
            </a:endParaRPr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12182" y="667657"/>
            <a:ext cx="3921010" cy="4699251"/>
          </a:xfrm>
          <a:prstGeom prst="rect">
            <a:avLst/>
          </a:prstGeom>
        </p:spPr>
      </p:pic>
      <p:sp>
        <p:nvSpPr>
          <p:cNvPr id="31" name="Rechteck 30"/>
          <p:cNvSpPr/>
          <p:nvPr userDrawn="1"/>
        </p:nvSpPr>
        <p:spPr>
          <a:xfrm>
            <a:off x="26127769" y="1401412"/>
            <a:ext cx="3905175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9600" dirty="0" smtClean="0">
                <a:solidFill>
                  <a:srgbClr val="7F7F7F"/>
                </a:solidFill>
                <a:latin typeface="Arial Rounded MT Bold" panose="020F0704030504030204" pitchFamily="34" charset="0"/>
              </a:rPr>
              <a:t>FOR </a:t>
            </a:r>
            <a:r>
              <a:rPr lang="de-DE" sz="9600" dirty="0">
                <a:solidFill>
                  <a:srgbClr val="7F7F7F"/>
                </a:solidFill>
                <a:latin typeface="Arial Rounded MT Bold" panose="020F0704030504030204" pitchFamily="34" charset="0"/>
              </a:rPr>
              <a:t>5888</a:t>
            </a:r>
            <a:endParaRPr lang="en-US" sz="9600" dirty="0">
              <a:solidFill>
                <a:srgbClr val="7F7F7F"/>
              </a:solidFill>
              <a:latin typeface="Arial Rounded MT Bold" panose="020F07040305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7750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6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5pPr>
      <a:lvl6pPr marL="1513743" algn="l" rtl="0" fontAlgn="base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6pPr>
      <a:lvl7pPr marL="3027487" algn="l" rtl="0" fontAlgn="base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7pPr>
      <a:lvl8pPr marL="4541230" algn="l" rtl="0" fontAlgn="base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8pPr>
      <a:lvl9pPr marL="6054974" algn="l" rtl="0" fontAlgn="base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9pPr>
    </p:titleStyle>
    <p:bodyStyle>
      <a:lvl1pPr marL="1135308" indent="-1135308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513743" indent="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None/>
        <a:defRPr sz="5297">
          <a:solidFill>
            <a:schemeClr val="tx1"/>
          </a:solidFill>
          <a:latin typeface="+mn-lt"/>
        </a:defRPr>
      </a:lvl2pPr>
      <a:lvl3pPr marL="3784359" indent="-756872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4635">
          <a:solidFill>
            <a:schemeClr val="tx1"/>
          </a:solidFill>
          <a:latin typeface="+mn-lt"/>
        </a:defRPr>
      </a:lvl3pPr>
      <a:lvl4pPr marL="5298102" indent="-756872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4635">
          <a:solidFill>
            <a:schemeClr val="tx1"/>
          </a:solidFill>
          <a:latin typeface="+mn-lt"/>
        </a:defRPr>
      </a:lvl4pPr>
      <a:lvl5pPr marL="6811846" indent="-756872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4635">
          <a:solidFill>
            <a:schemeClr val="tx1"/>
          </a:solidFill>
          <a:latin typeface="+mn-lt"/>
        </a:defRPr>
      </a:lvl5pPr>
      <a:lvl6pPr marL="8325589" indent="-756872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4635">
          <a:solidFill>
            <a:schemeClr val="tx1"/>
          </a:solidFill>
          <a:latin typeface="+mn-lt"/>
        </a:defRPr>
      </a:lvl6pPr>
      <a:lvl7pPr marL="9839333" indent="-756872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4635">
          <a:solidFill>
            <a:schemeClr val="tx1"/>
          </a:solidFill>
          <a:latin typeface="+mn-lt"/>
        </a:defRPr>
      </a:lvl7pPr>
      <a:lvl8pPr marL="11353076" indent="-756872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4635">
          <a:solidFill>
            <a:schemeClr val="tx1"/>
          </a:solidFill>
          <a:latin typeface="+mn-lt"/>
        </a:defRPr>
      </a:lvl8pPr>
      <a:lvl9pPr marL="12866820" indent="-756872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4635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1pPr>
      <a:lvl2pPr marL="1513743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2pPr>
      <a:lvl3pPr marL="302748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3pPr>
      <a:lvl4pPr marL="454123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05497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756871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082461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059620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109948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685">
          <p15:clr>
            <a:srgbClr val="F26B43"/>
          </p15:clr>
        </p15:guide>
        <p15:guide id="2" pos="1031">
          <p15:clr>
            <a:srgbClr val="F26B43"/>
          </p15:clr>
        </p15:guide>
        <p15:guide id="3" pos="180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0F2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F958CA3-7F7F-4A37-9199-0152D5D3A6E6}"/>
              </a:ext>
            </a:extLst>
          </p:cNvPr>
          <p:cNvGraphicFramePr>
            <a:graphicFrameLocks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1164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6" imgW="391" imgH="391" progId="TCLayout.ActiveDocument.1">
                  <p:embed/>
                </p:oleObj>
              </mc:Choice>
              <mc:Fallback>
                <p:oleObj name="think-cell Folie" r:id="rId6" imgW="391" imgH="3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958CA3-7F7F-4A37-9199-0152D5D3A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Rechteck 110"/>
          <p:cNvSpPr/>
          <p:nvPr userDrawn="1"/>
        </p:nvSpPr>
        <p:spPr>
          <a:xfrm>
            <a:off x="0" y="21532645"/>
            <a:ext cx="30274813" cy="134104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feld 23"/>
          <p:cNvSpPr txBox="1"/>
          <p:nvPr userDrawn="1"/>
        </p:nvSpPr>
        <p:spPr>
          <a:xfrm>
            <a:off x="-2" y="20791253"/>
            <a:ext cx="30276000" cy="861774"/>
          </a:xfrm>
          <a:prstGeom prst="rect">
            <a:avLst/>
          </a:prstGeom>
          <a:solidFill>
            <a:srgbClr val="83B725"/>
          </a:solidFill>
        </p:spPr>
        <p:txBody>
          <a:bodyPr wrap="square" rtlCol="0" anchor="ctr">
            <a:spAutoFit/>
          </a:bodyPr>
          <a:lstStyle/>
          <a:p>
            <a:pPr marL="1620000"/>
            <a:r>
              <a:rPr lang="de-DE" sz="5000" b="1">
                <a:solidFill>
                  <a:schemeClr val="bg1"/>
                </a:solidFill>
              </a:rPr>
              <a:t>Methoden</a:t>
            </a:r>
          </a:p>
        </p:txBody>
      </p:sp>
      <p:sp>
        <p:nvSpPr>
          <p:cNvPr id="112" name="Rechteck 111"/>
          <p:cNvSpPr/>
          <p:nvPr userDrawn="1"/>
        </p:nvSpPr>
        <p:spPr>
          <a:xfrm>
            <a:off x="0" y="36063833"/>
            <a:ext cx="30275213" cy="31432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30276000" cy="58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/>
          <p:cNvSpPr/>
          <p:nvPr userDrawn="1"/>
        </p:nvSpPr>
        <p:spPr>
          <a:xfrm>
            <a:off x="-1187" y="39878000"/>
            <a:ext cx="30276000" cy="2925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 userDrawn="1"/>
        </p:nvSpPr>
        <p:spPr>
          <a:xfrm>
            <a:off x="0" y="4040658"/>
            <a:ext cx="30276000" cy="86177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620000"/>
            <a:r>
              <a:rPr lang="de-DE" sz="5000">
                <a:solidFill>
                  <a:schemeClr val="tx1"/>
                </a:solidFill>
              </a:rPr>
              <a:t>Prof.</a:t>
            </a:r>
            <a:r>
              <a:rPr lang="de-DE" sz="5000" baseline="0">
                <a:solidFill>
                  <a:schemeClr val="tx1"/>
                </a:solidFill>
              </a:rPr>
              <a:t> Dr.-Ing. Petra Wiederkehr, Prof. Dr.-Ing. Gisela Lanza, Prof. Dr.-Ing. Florian Stamer</a:t>
            </a:r>
            <a:endParaRPr lang="de-DE" sz="5000">
              <a:solidFill>
                <a:schemeClr val="tx1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C4C36E76-2C28-4FFE-B9F5-BF05D6D7A20B}"/>
              </a:ext>
            </a:extLst>
          </p:cNvPr>
          <p:cNvSpPr txBox="1"/>
          <p:nvPr userDrawn="1"/>
        </p:nvSpPr>
        <p:spPr>
          <a:xfrm>
            <a:off x="1636713" y="1314829"/>
            <a:ext cx="1771118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200">
                <a:latin typeface="Arial Rounded MT Bold" panose="020F0704030504030204" pitchFamily="34" charset="0"/>
              </a:rPr>
              <a:t>TP 1: Entwicklung prozessinformierter Modelle für die NC-Fräsbearbeitung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96B98E6-EC8E-45C8-9497-7CC5BFA47F7D}"/>
              </a:ext>
            </a:extLst>
          </p:cNvPr>
          <p:cNvSpPr txBox="1"/>
          <p:nvPr userDrawn="1"/>
        </p:nvSpPr>
        <p:spPr>
          <a:xfrm>
            <a:off x="22690921" y="1684161"/>
            <a:ext cx="675423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600" b="1">
                <a:solidFill>
                  <a:srgbClr val="83B725"/>
                </a:solidFill>
                <a:latin typeface="Arial Rounded MT Bold" panose="020F0704030504030204" pitchFamily="34" charset="0"/>
              </a:rPr>
              <a:t>FOR 5888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E611565-89B0-45A4-8B78-4B983B20F73D}"/>
              </a:ext>
            </a:extLst>
          </p:cNvPr>
          <p:cNvSpPr/>
          <p:nvPr userDrawn="1"/>
        </p:nvSpPr>
        <p:spPr>
          <a:xfrm>
            <a:off x="20141520" y="1388991"/>
            <a:ext cx="2159464" cy="2160000"/>
          </a:xfrm>
          <a:prstGeom prst="rect">
            <a:avLst/>
          </a:prstGeom>
          <a:solidFill>
            <a:srgbClr val="83B7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0A7C3CE-04B6-4A9C-B698-58299BD50AF5}"/>
              </a:ext>
            </a:extLst>
          </p:cNvPr>
          <p:cNvGrpSpPr/>
          <p:nvPr userDrawn="1"/>
        </p:nvGrpSpPr>
        <p:grpSpPr>
          <a:xfrm>
            <a:off x="3542435" y="40548881"/>
            <a:ext cx="23190343" cy="1584000"/>
            <a:chOff x="2802049" y="39948254"/>
            <a:chExt cx="23190343" cy="1584000"/>
          </a:xfrm>
        </p:grpSpPr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02049" y="39948254"/>
              <a:ext cx="9818018" cy="1584000"/>
            </a:xfrm>
            <a:prstGeom prst="rect">
              <a:avLst/>
            </a:prstGeom>
          </p:spPr>
        </p:pic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8536268A-215E-4DA4-900E-A27480AD04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75545" y="39948254"/>
              <a:ext cx="3167999" cy="1584000"/>
            </a:xfrm>
            <a:prstGeom prst="rect">
              <a:avLst/>
            </a:prstGeom>
          </p:spPr>
        </p:pic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5B39D2E5-A8DA-4406-BAD5-57D93427078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2390"/>
            <a:stretch/>
          </p:blipFill>
          <p:spPr>
            <a:xfrm>
              <a:off x="18099023" y="39948254"/>
              <a:ext cx="7893369" cy="1584000"/>
            </a:xfrm>
            <a:prstGeom prst="rect">
              <a:avLst/>
            </a:prstGeom>
          </p:spPr>
        </p:pic>
      </p:grpSp>
      <p:sp>
        <p:nvSpPr>
          <p:cNvPr id="25" name="Textfeld 24"/>
          <p:cNvSpPr txBox="1"/>
          <p:nvPr userDrawn="1"/>
        </p:nvSpPr>
        <p:spPr>
          <a:xfrm>
            <a:off x="0" y="35407459"/>
            <a:ext cx="30276000" cy="861774"/>
          </a:xfrm>
          <a:prstGeom prst="rect">
            <a:avLst/>
          </a:prstGeom>
          <a:solidFill>
            <a:srgbClr val="83B725"/>
          </a:solidFill>
        </p:spPr>
        <p:txBody>
          <a:bodyPr wrap="square" rtlCol="0" anchor="ctr">
            <a:spAutoFit/>
          </a:bodyPr>
          <a:lstStyle/>
          <a:p>
            <a:pPr marL="1620000"/>
            <a:r>
              <a:rPr lang="de-DE" sz="5000" b="1">
                <a:solidFill>
                  <a:schemeClr val="bg1"/>
                </a:solidFill>
              </a:rPr>
              <a:t>Ausblick Phase II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9A4E53B-89C8-4892-BAD0-A1321C93E9EB}"/>
              </a:ext>
            </a:extLst>
          </p:cNvPr>
          <p:cNvSpPr/>
          <p:nvPr userDrawn="1"/>
        </p:nvSpPr>
        <p:spPr>
          <a:xfrm>
            <a:off x="0" y="6125300"/>
            <a:ext cx="28620000" cy="1080000"/>
          </a:xfrm>
          <a:prstGeom prst="rect">
            <a:avLst/>
          </a:prstGeom>
          <a:solidFill>
            <a:srgbClr val="E0F2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hteck 2"/>
          <p:cNvSpPr/>
          <p:nvPr userDrawn="1"/>
        </p:nvSpPr>
        <p:spPr>
          <a:xfrm>
            <a:off x="-1186" y="7082360"/>
            <a:ext cx="30276000" cy="132589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BECCA9B8-1CDD-4550-88DC-50037252E400}"/>
              </a:ext>
            </a:extLst>
          </p:cNvPr>
          <p:cNvSpPr txBox="1"/>
          <p:nvPr userDrawn="1"/>
        </p:nvSpPr>
        <p:spPr>
          <a:xfrm>
            <a:off x="0" y="6271526"/>
            <a:ext cx="30276000" cy="861774"/>
          </a:xfrm>
          <a:prstGeom prst="rect">
            <a:avLst/>
          </a:prstGeom>
          <a:solidFill>
            <a:srgbClr val="83B725"/>
          </a:solidFill>
        </p:spPr>
        <p:txBody>
          <a:bodyPr wrap="square" rtlCol="0" anchor="ctr">
            <a:spAutoFit/>
          </a:bodyPr>
          <a:lstStyle/>
          <a:p>
            <a:pPr marL="1620000"/>
            <a:r>
              <a:rPr lang="de-DE" sz="5000" b="1">
                <a:solidFill>
                  <a:schemeClr val="bg1"/>
                </a:solidFill>
              </a:rPr>
              <a:t>Eigene Vorarbeiten</a:t>
            </a: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0455274B-5D36-4EF3-9C83-846148763591}"/>
              </a:ext>
            </a:extLst>
          </p:cNvPr>
          <p:cNvSpPr txBox="1"/>
          <p:nvPr userDrawn="1"/>
        </p:nvSpPr>
        <p:spPr>
          <a:xfrm>
            <a:off x="0" y="35392953"/>
            <a:ext cx="30276000" cy="86177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620000"/>
            <a:r>
              <a:rPr lang="de-DE" sz="5000" b="1">
                <a:solidFill>
                  <a:schemeClr val="bg1"/>
                </a:solidFill>
              </a:rPr>
              <a:t>Ausblick Phase II</a:t>
            </a:r>
          </a:p>
        </p:txBody>
      </p:sp>
    </p:spTree>
    <p:extLst>
      <p:ext uri="{BB962C8B-B14F-4D97-AF65-F5344CB8AC3E}">
        <p14:creationId xmlns:p14="http://schemas.microsoft.com/office/powerpoint/2010/main" val="3669275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796" r:id="rId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6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5pPr>
      <a:lvl6pPr marL="1513743" algn="l" rtl="0" fontAlgn="base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6pPr>
      <a:lvl7pPr marL="3027487" algn="l" rtl="0" fontAlgn="base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7pPr>
      <a:lvl8pPr marL="4541230" algn="l" rtl="0" fontAlgn="base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8pPr>
      <a:lvl9pPr marL="6054974" algn="l" rtl="0" fontAlgn="base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9pPr>
    </p:titleStyle>
    <p:bodyStyle>
      <a:lvl1pPr marL="1135308" indent="-1135308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513743" indent="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None/>
        <a:defRPr sz="5297">
          <a:solidFill>
            <a:schemeClr val="tx1"/>
          </a:solidFill>
          <a:latin typeface="+mn-lt"/>
        </a:defRPr>
      </a:lvl2pPr>
      <a:lvl3pPr marL="3784359" indent="-756872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4635">
          <a:solidFill>
            <a:schemeClr val="tx1"/>
          </a:solidFill>
          <a:latin typeface="+mn-lt"/>
        </a:defRPr>
      </a:lvl3pPr>
      <a:lvl4pPr marL="5298102" indent="-756872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4635">
          <a:solidFill>
            <a:schemeClr val="tx1"/>
          </a:solidFill>
          <a:latin typeface="+mn-lt"/>
        </a:defRPr>
      </a:lvl4pPr>
      <a:lvl5pPr marL="6811846" indent="-756872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4635">
          <a:solidFill>
            <a:schemeClr val="tx1"/>
          </a:solidFill>
          <a:latin typeface="+mn-lt"/>
        </a:defRPr>
      </a:lvl5pPr>
      <a:lvl6pPr marL="8325589" indent="-756872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4635">
          <a:solidFill>
            <a:schemeClr val="tx1"/>
          </a:solidFill>
          <a:latin typeface="+mn-lt"/>
        </a:defRPr>
      </a:lvl6pPr>
      <a:lvl7pPr marL="9839333" indent="-756872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4635">
          <a:solidFill>
            <a:schemeClr val="tx1"/>
          </a:solidFill>
          <a:latin typeface="+mn-lt"/>
        </a:defRPr>
      </a:lvl7pPr>
      <a:lvl8pPr marL="11353076" indent="-756872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4635">
          <a:solidFill>
            <a:schemeClr val="tx1"/>
          </a:solidFill>
          <a:latin typeface="+mn-lt"/>
        </a:defRPr>
      </a:lvl8pPr>
      <a:lvl9pPr marL="12866820" indent="-756872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4635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1pPr>
      <a:lvl2pPr marL="1513743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2pPr>
      <a:lvl3pPr marL="302748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3pPr>
      <a:lvl4pPr marL="454123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05497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756871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082461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059620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109948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685">
          <p15:clr>
            <a:srgbClr val="F26B43"/>
          </p15:clr>
        </p15:guide>
        <p15:guide id="2" pos="1031">
          <p15:clr>
            <a:srgbClr val="F26B43"/>
          </p15:clr>
        </p15:guide>
        <p15:guide id="3" pos="180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0F2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6CD4F31-2317-4C1F-9D12-A7B576B3A5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3962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Folie" r:id="rId6" imgW="391" imgH="391" progId="TCLayout.ActiveDocument.1">
                  <p:embed/>
                </p:oleObj>
              </mc:Choice>
              <mc:Fallback>
                <p:oleObj name="think-cell Folie" r:id="rId6" imgW="391" imgH="3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CD4F31-2317-4C1F-9D12-A7B576B3A5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Rechteck 110"/>
          <p:cNvSpPr/>
          <p:nvPr userDrawn="1"/>
        </p:nvSpPr>
        <p:spPr>
          <a:xfrm>
            <a:off x="0" y="17518314"/>
            <a:ext cx="30275213" cy="943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feld 23"/>
          <p:cNvSpPr txBox="1"/>
          <p:nvPr userDrawn="1"/>
        </p:nvSpPr>
        <p:spPr>
          <a:xfrm>
            <a:off x="-2" y="17134640"/>
            <a:ext cx="30276000" cy="936000"/>
          </a:xfrm>
          <a:prstGeom prst="rect">
            <a:avLst/>
          </a:prstGeom>
          <a:solidFill>
            <a:srgbClr val="83B725"/>
          </a:solidFill>
        </p:spPr>
        <p:txBody>
          <a:bodyPr wrap="square" rtlCol="0" anchor="ctr">
            <a:spAutoFit/>
          </a:bodyPr>
          <a:lstStyle/>
          <a:p>
            <a:pPr marL="1620000"/>
            <a:r>
              <a:rPr lang="de-DE" sz="5000" b="1">
                <a:solidFill>
                  <a:schemeClr val="bg1"/>
                </a:solidFill>
              </a:rPr>
              <a:t>Einbindung in die FOR 5888</a:t>
            </a:r>
          </a:p>
        </p:txBody>
      </p:sp>
      <p:sp>
        <p:nvSpPr>
          <p:cNvPr id="112" name="Rechteck 111"/>
          <p:cNvSpPr/>
          <p:nvPr userDrawn="1"/>
        </p:nvSpPr>
        <p:spPr>
          <a:xfrm>
            <a:off x="0" y="27803367"/>
            <a:ext cx="30275213" cy="114037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30276000" cy="58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/>
          <p:cNvSpPr/>
          <p:nvPr userDrawn="1"/>
        </p:nvSpPr>
        <p:spPr>
          <a:xfrm>
            <a:off x="-1187" y="39878000"/>
            <a:ext cx="30276000" cy="2925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 userDrawn="1"/>
        </p:nvSpPr>
        <p:spPr>
          <a:xfrm>
            <a:off x="0" y="4040658"/>
            <a:ext cx="30276000" cy="86177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620000"/>
            <a:r>
              <a:rPr lang="de-DE" sz="5000">
                <a:solidFill>
                  <a:schemeClr val="tx1"/>
                </a:solidFill>
              </a:rPr>
              <a:t>Prof.</a:t>
            </a:r>
            <a:r>
              <a:rPr lang="de-DE" sz="5000" baseline="0">
                <a:solidFill>
                  <a:schemeClr val="tx1"/>
                </a:solidFill>
              </a:rPr>
              <a:t> Dr.-Ing. Petra Wiederkehr, Prof. Dr.-Ing. Gisela Lanza, Prof. Dr.-Ing. Florian Stamer</a:t>
            </a:r>
            <a:endParaRPr lang="de-DE" sz="5000">
              <a:solidFill>
                <a:schemeClr val="tx1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C4C36E76-2C28-4FFE-B9F5-BF05D6D7A20B}"/>
              </a:ext>
            </a:extLst>
          </p:cNvPr>
          <p:cNvSpPr txBox="1"/>
          <p:nvPr userDrawn="1"/>
        </p:nvSpPr>
        <p:spPr>
          <a:xfrm>
            <a:off x="1636713" y="1314829"/>
            <a:ext cx="1771118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200">
                <a:latin typeface="Arial Rounded MT Bold" panose="020F0704030504030204" pitchFamily="34" charset="0"/>
              </a:rPr>
              <a:t>TP 1: Entwicklung prozessinformierter Modelle für die NC-Fräsbearbeitung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96B98E6-EC8E-45C8-9497-7CC5BFA47F7D}"/>
              </a:ext>
            </a:extLst>
          </p:cNvPr>
          <p:cNvSpPr txBox="1"/>
          <p:nvPr userDrawn="1"/>
        </p:nvSpPr>
        <p:spPr>
          <a:xfrm>
            <a:off x="22690921" y="1684161"/>
            <a:ext cx="675423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600" b="1">
                <a:solidFill>
                  <a:srgbClr val="83B725"/>
                </a:solidFill>
                <a:latin typeface="Arial Rounded MT Bold" panose="020F0704030504030204" pitchFamily="34" charset="0"/>
              </a:rPr>
              <a:t>FOR 5888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E611565-89B0-45A4-8B78-4B983B20F73D}"/>
              </a:ext>
            </a:extLst>
          </p:cNvPr>
          <p:cNvSpPr/>
          <p:nvPr userDrawn="1"/>
        </p:nvSpPr>
        <p:spPr>
          <a:xfrm>
            <a:off x="20141520" y="1388991"/>
            <a:ext cx="2159464" cy="2160000"/>
          </a:xfrm>
          <a:prstGeom prst="rect">
            <a:avLst/>
          </a:prstGeom>
          <a:solidFill>
            <a:srgbClr val="83B7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0A7C3CE-04B6-4A9C-B698-58299BD50AF5}"/>
              </a:ext>
            </a:extLst>
          </p:cNvPr>
          <p:cNvGrpSpPr/>
          <p:nvPr userDrawn="1"/>
        </p:nvGrpSpPr>
        <p:grpSpPr>
          <a:xfrm>
            <a:off x="3542435" y="40548881"/>
            <a:ext cx="23190343" cy="1584000"/>
            <a:chOff x="2802049" y="39948254"/>
            <a:chExt cx="23190343" cy="1584000"/>
          </a:xfrm>
        </p:grpSpPr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02049" y="39948254"/>
              <a:ext cx="9818018" cy="1584000"/>
            </a:xfrm>
            <a:prstGeom prst="rect">
              <a:avLst/>
            </a:prstGeom>
          </p:spPr>
        </p:pic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8536268A-215E-4DA4-900E-A27480AD04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75545" y="39948254"/>
              <a:ext cx="3167999" cy="1584000"/>
            </a:xfrm>
            <a:prstGeom prst="rect">
              <a:avLst/>
            </a:prstGeom>
          </p:spPr>
        </p:pic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5B39D2E5-A8DA-4406-BAD5-57D93427078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2390"/>
            <a:stretch/>
          </p:blipFill>
          <p:spPr>
            <a:xfrm>
              <a:off x="18099023" y="39948254"/>
              <a:ext cx="7893369" cy="1584000"/>
            </a:xfrm>
            <a:prstGeom prst="rect">
              <a:avLst/>
            </a:prstGeom>
          </p:spPr>
        </p:pic>
      </p:grpSp>
      <p:sp>
        <p:nvSpPr>
          <p:cNvPr id="25" name="Textfeld 24"/>
          <p:cNvSpPr txBox="1"/>
          <p:nvPr userDrawn="1"/>
        </p:nvSpPr>
        <p:spPr>
          <a:xfrm>
            <a:off x="0" y="27376713"/>
            <a:ext cx="30276000" cy="936000"/>
          </a:xfrm>
          <a:prstGeom prst="rect">
            <a:avLst/>
          </a:prstGeom>
          <a:solidFill>
            <a:srgbClr val="83B725"/>
          </a:solidFill>
        </p:spPr>
        <p:txBody>
          <a:bodyPr wrap="square" rtlCol="0" anchor="ctr">
            <a:spAutoFit/>
          </a:bodyPr>
          <a:lstStyle/>
          <a:p>
            <a:pPr marL="1620000"/>
            <a:r>
              <a:rPr lang="de-DE" sz="5000" b="1">
                <a:solidFill>
                  <a:schemeClr val="bg1"/>
                </a:solidFill>
              </a:rPr>
              <a:t>Arbeitsprogramm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9A4E53B-89C8-4892-BAD0-A1321C93E9EB}"/>
              </a:ext>
            </a:extLst>
          </p:cNvPr>
          <p:cNvSpPr/>
          <p:nvPr userDrawn="1"/>
        </p:nvSpPr>
        <p:spPr>
          <a:xfrm>
            <a:off x="0" y="6125300"/>
            <a:ext cx="28620000" cy="1080000"/>
          </a:xfrm>
          <a:prstGeom prst="rect">
            <a:avLst/>
          </a:prstGeom>
          <a:solidFill>
            <a:srgbClr val="E0F2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hteck 2"/>
          <p:cNvSpPr/>
          <p:nvPr userDrawn="1"/>
        </p:nvSpPr>
        <p:spPr>
          <a:xfrm>
            <a:off x="0" y="7082360"/>
            <a:ext cx="30274813" cy="96795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BECCA9B8-1CDD-4550-88DC-50037252E400}"/>
              </a:ext>
            </a:extLst>
          </p:cNvPr>
          <p:cNvSpPr txBox="1"/>
          <p:nvPr userDrawn="1"/>
        </p:nvSpPr>
        <p:spPr>
          <a:xfrm>
            <a:off x="0" y="6234413"/>
            <a:ext cx="30276000" cy="936000"/>
          </a:xfrm>
          <a:prstGeom prst="rect">
            <a:avLst/>
          </a:prstGeom>
          <a:solidFill>
            <a:srgbClr val="83B725"/>
          </a:solidFill>
        </p:spPr>
        <p:txBody>
          <a:bodyPr wrap="square" rtlCol="0" anchor="ctr">
            <a:spAutoFit/>
          </a:bodyPr>
          <a:lstStyle/>
          <a:p>
            <a:pPr marL="1620000"/>
            <a:r>
              <a:rPr lang="de-DE" sz="5000" b="1">
                <a:solidFill>
                  <a:schemeClr val="bg1"/>
                </a:solidFill>
              </a:rPr>
              <a:t>Forschungshypothese und -fragen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85A9EAC5-3063-4027-A488-585A04B7FA01}"/>
              </a:ext>
            </a:extLst>
          </p:cNvPr>
          <p:cNvSpPr txBox="1"/>
          <p:nvPr userDrawn="1"/>
        </p:nvSpPr>
        <p:spPr>
          <a:xfrm>
            <a:off x="17846734" y="18460070"/>
            <a:ext cx="759809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500" b="1"/>
              <a:t>Daten: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9FF6F0B4-D470-4888-99AB-F8EC238F2314}"/>
              </a:ext>
            </a:extLst>
          </p:cNvPr>
          <p:cNvSpPr txBox="1"/>
          <p:nvPr userDrawn="1"/>
        </p:nvSpPr>
        <p:spPr>
          <a:xfrm>
            <a:off x="17846734" y="22435369"/>
            <a:ext cx="759809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500" b="1"/>
              <a:t>Modelle: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8A7FA09C-2C6C-465D-9EAF-4AED43F547EA}"/>
              </a:ext>
            </a:extLst>
          </p:cNvPr>
          <p:cNvSpPr txBox="1"/>
          <p:nvPr userDrawn="1"/>
        </p:nvSpPr>
        <p:spPr>
          <a:xfrm>
            <a:off x="16328409" y="17171755"/>
            <a:ext cx="11285316" cy="86177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620000" algn="l"/>
            <a:r>
              <a:rPr lang="de-DE" sz="5000" b="1">
                <a:solidFill>
                  <a:schemeClr val="bg1"/>
                </a:solidFill>
              </a:rPr>
              <a:t>Beitrag zu PIM</a:t>
            </a:r>
          </a:p>
        </p:txBody>
      </p: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77FA76AE-C800-4037-BA38-AF3D6811FFFC}"/>
              </a:ext>
            </a:extLst>
          </p:cNvPr>
          <p:cNvCxnSpPr/>
          <p:nvPr userDrawn="1"/>
        </p:nvCxnSpPr>
        <p:spPr>
          <a:xfrm>
            <a:off x="16845504" y="18381643"/>
            <a:ext cx="0" cy="7750275"/>
          </a:xfrm>
          <a:prstGeom prst="line">
            <a:avLst/>
          </a:prstGeom>
          <a:ln w="28575">
            <a:solidFill>
              <a:srgbClr val="83B72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511BF93-9167-4B7E-A391-4322380B988F}"/>
              </a:ext>
            </a:extLst>
          </p:cNvPr>
          <p:cNvGrpSpPr/>
          <p:nvPr userDrawn="1"/>
        </p:nvGrpSpPr>
        <p:grpSpPr>
          <a:xfrm>
            <a:off x="1449976" y="18688997"/>
            <a:ext cx="13923817" cy="7401092"/>
            <a:chOff x="2024118" y="18688997"/>
            <a:chExt cx="13923817" cy="7401092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107B757-BE68-452D-A79C-8F876DA52F16}"/>
                </a:ext>
              </a:extLst>
            </p:cNvPr>
            <p:cNvSpPr/>
            <p:nvPr userDrawn="1"/>
          </p:nvSpPr>
          <p:spPr>
            <a:xfrm>
              <a:off x="8409604" y="18688997"/>
              <a:ext cx="1239315" cy="7401092"/>
            </a:xfrm>
            <a:prstGeom prst="roundRect">
              <a:avLst>
                <a:gd name="adj" fmla="val 2980"/>
              </a:avLst>
            </a:prstGeom>
            <a:solidFill>
              <a:srgbClr val="83B725"/>
            </a:solidFill>
            <a:ln w="38100">
              <a:solidFill>
                <a:srgbClr val="E0F2C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P1</a:t>
              </a:r>
            </a:p>
          </p:txBody>
        </p:sp>
        <p:grpSp>
          <p:nvGrpSpPr>
            <p:cNvPr id="114" name="Gruppieren 113">
              <a:extLst>
                <a:ext uri="{FF2B5EF4-FFF2-40B4-BE49-F238E27FC236}">
                  <a16:creationId xmlns:a16="http://schemas.microsoft.com/office/drawing/2014/main" id="{F949CEB4-5155-402D-9922-941A6F09D6BB}"/>
                </a:ext>
              </a:extLst>
            </p:cNvPr>
            <p:cNvGrpSpPr/>
            <p:nvPr userDrawn="1"/>
          </p:nvGrpSpPr>
          <p:grpSpPr>
            <a:xfrm>
              <a:off x="2024118" y="18688997"/>
              <a:ext cx="13831596" cy="1936901"/>
              <a:chOff x="2012679" y="18688491"/>
              <a:chExt cx="13831596" cy="1936901"/>
            </a:xfrm>
          </p:grpSpPr>
          <p:grpSp>
            <p:nvGrpSpPr>
              <p:cNvPr id="115" name="Gruppieren 114">
                <a:extLst>
                  <a:ext uri="{FF2B5EF4-FFF2-40B4-BE49-F238E27FC236}">
                    <a16:creationId xmlns:a16="http://schemas.microsoft.com/office/drawing/2014/main" id="{5BE2AE31-5C52-4CAC-B7A6-1FFDD3725E20}"/>
                  </a:ext>
                </a:extLst>
              </p:cNvPr>
              <p:cNvGrpSpPr/>
              <p:nvPr/>
            </p:nvGrpSpPr>
            <p:grpSpPr>
              <a:xfrm>
                <a:off x="2012679" y="18688491"/>
                <a:ext cx="12724367" cy="1936901"/>
                <a:chOff x="2012679" y="18688491"/>
                <a:chExt cx="12724367" cy="1936901"/>
              </a:xfrm>
            </p:grpSpPr>
            <p:pic>
              <p:nvPicPr>
                <p:cNvPr id="124" name="Grafik 123">
                  <a:extLst>
                    <a:ext uri="{FF2B5EF4-FFF2-40B4-BE49-F238E27FC236}">
                      <a16:creationId xmlns:a16="http://schemas.microsoft.com/office/drawing/2014/main" id="{9E74A048-F59F-4AA0-83FF-1AE19CEF619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12672" y="18968716"/>
                  <a:ext cx="1250800" cy="1419989"/>
                </a:xfrm>
                <a:prstGeom prst="rect">
                  <a:avLst/>
                </a:prstGeom>
              </p:spPr>
            </p:pic>
            <p:sp>
              <p:nvSpPr>
                <p:cNvPr id="125" name="Textfeld 124">
                  <a:extLst>
                    <a:ext uri="{FF2B5EF4-FFF2-40B4-BE49-F238E27FC236}">
                      <a16:creationId xmlns:a16="http://schemas.microsoft.com/office/drawing/2014/main" id="{D1F4386B-7DB2-4C87-986F-64032ADC5D18}"/>
                    </a:ext>
                  </a:extLst>
                </p:cNvPr>
                <p:cNvSpPr txBox="1"/>
                <p:nvPr/>
              </p:nvSpPr>
              <p:spPr>
                <a:xfrm>
                  <a:off x="3735631" y="18736438"/>
                  <a:ext cx="1447832" cy="181588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457200" marR="0" lvl="0" indent="-45720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de-DE" sz="28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aaa</a:t>
                  </a:r>
                  <a:endParaRPr kumimoji="0" lang="de-DE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457200" marR="0" lvl="0" indent="-45720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de-DE" sz="28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bbb</a:t>
                  </a:r>
                  <a:endParaRPr kumimoji="0" lang="de-DE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457200" marR="0" lvl="0" indent="-45720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de-DE" sz="2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ccc</a:t>
                  </a:r>
                </a:p>
                <a:p>
                  <a:pPr marL="457200" marR="0" lvl="0" indent="-45720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de-DE" sz="28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ddd</a:t>
                  </a:r>
                  <a:endParaRPr kumimoji="0" lang="de-DE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Rechteck: abgerundete Ecken 125">
                  <a:extLst>
                    <a:ext uri="{FF2B5EF4-FFF2-40B4-BE49-F238E27FC236}">
                      <a16:creationId xmlns:a16="http://schemas.microsoft.com/office/drawing/2014/main" id="{17204BC0-88E8-4C1E-A109-EC776753B20C}"/>
                    </a:ext>
                  </a:extLst>
                </p:cNvPr>
                <p:cNvSpPr/>
                <p:nvPr/>
              </p:nvSpPr>
              <p:spPr>
                <a:xfrm>
                  <a:off x="2027203" y="18688592"/>
                  <a:ext cx="5112000" cy="1936750"/>
                </a:xfrm>
                <a:prstGeom prst="roundRect">
                  <a:avLst>
                    <a:gd name="adj" fmla="val 2980"/>
                  </a:avLst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Rechteck: abgerundete Ecken 126">
                  <a:extLst>
                    <a:ext uri="{FF2B5EF4-FFF2-40B4-BE49-F238E27FC236}">
                      <a16:creationId xmlns:a16="http://schemas.microsoft.com/office/drawing/2014/main" id="{D08B903B-0960-4492-803A-0D3EE9BD758E}"/>
                    </a:ext>
                  </a:extLst>
                </p:cNvPr>
                <p:cNvSpPr/>
                <p:nvPr/>
              </p:nvSpPr>
              <p:spPr>
                <a:xfrm rot="16200000">
                  <a:off x="1497527" y="19203694"/>
                  <a:ext cx="1936800" cy="906496"/>
                </a:xfrm>
                <a:prstGeom prst="roundRect">
                  <a:avLst>
                    <a:gd name="adj" fmla="val 2980"/>
                  </a:avLst>
                </a:prstGeom>
                <a:solidFill>
                  <a:srgbClr val="002060"/>
                </a:solidFill>
                <a:ln w="38100">
                  <a:solidFill>
                    <a:srgbClr val="00206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hteck: abgerundete Ecken 127">
                  <a:extLst>
                    <a:ext uri="{FF2B5EF4-FFF2-40B4-BE49-F238E27FC236}">
                      <a16:creationId xmlns:a16="http://schemas.microsoft.com/office/drawing/2014/main" id="{9B062991-0414-48F4-846E-31C2D6952CF5}"/>
                    </a:ext>
                  </a:extLst>
                </p:cNvPr>
                <p:cNvSpPr/>
                <p:nvPr/>
              </p:nvSpPr>
              <p:spPr>
                <a:xfrm>
                  <a:off x="7266084" y="18688592"/>
                  <a:ext cx="216000" cy="1936750"/>
                </a:xfrm>
                <a:prstGeom prst="roundRect">
                  <a:avLst>
                    <a:gd name="adj" fmla="val 2980"/>
                  </a:avLst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Rechteck: abgerundete Ecken 128">
                  <a:extLst>
                    <a:ext uri="{FF2B5EF4-FFF2-40B4-BE49-F238E27FC236}">
                      <a16:creationId xmlns:a16="http://schemas.microsoft.com/office/drawing/2014/main" id="{FBF3910C-049A-478E-A514-AEBBA2519963}"/>
                    </a:ext>
                  </a:extLst>
                </p:cNvPr>
                <p:cNvSpPr/>
                <p:nvPr/>
              </p:nvSpPr>
              <p:spPr>
                <a:xfrm>
                  <a:off x="7608965" y="18688592"/>
                  <a:ext cx="180000" cy="1936750"/>
                </a:xfrm>
                <a:prstGeom prst="roundRect">
                  <a:avLst>
                    <a:gd name="adj" fmla="val 2980"/>
                  </a:avLst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Pfeil: Fünfeck 129">
                  <a:extLst>
                    <a:ext uri="{FF2B5EF4-FFF2-40B4-BE49-F238E27FC236}">
                      <a16:creationId xmlns:a16="http://schemas.microsoft.com/office/drawing/2014/main" id="{E7AF7494-9DBC-457D-AA4C-B0B380236290}"/>
                    </a:ext>
                  </a:extLst>
                </p:cNvPr>
                <p:cNvSpPr/>
                <p:nvPr/>
              </p:nvSpPr>
              <p:spPr>
                <a:xfrm>
                  <a:off x="7915845" y="18688592"/>
                  <a:ext cx="308168" cy="1936800"/>
                </a:xfrm>
                <a:prstGeom prst="homePlate">
                  <a:avLst/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131" name="Gruppieren 130">
                  <a:extLst>
                    <a:ext uri="{FF2B5EF4-FFF2-40B4-BE49-F238E27FC236}">
                      <a16:creationId xmlns:a16="http://schemas.microsoft.com/office/drawing/2014/main" id="{34BC6C6B-6F3A-4C57-BFCB-B05A4C0388EB}"/>
                    </a:ext>
                  </a:extLst>
                </p:cNvPr>
                <p:cNvGrpSpPr/>
                <p:nvPr/>
              </p:nvGrpSpPr>
              <p:grpSpPr>
                <a:xfrm>
                  <a:off x="2025485" y="18862852"/>
                  <a:ext cx="880885" cy="1588181"/>
                  <a:chOff x="1998154" y="18845476"/>
                  <a:chExt cx="880885" cy="1588181"/>
                </a:xfrm>
              </p:grpSpPr>
              <p:pic>
                <p:nvPicPr>
                  <p:cNvPr id="135" name="Grafik 134">
                    <a:extLst>
                      <a:ext uri="{FF2B5EF4-FFF2-40B4-BE49-F238E27FC236}">
                        <a16:creationId xmlns:a16="http://schemas.microsoft.com/office/drawing/2014/main" id="{27D62E63-13BF-458E-BD27-6D8E77D4C0C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>
                    <a:biLevel thresh="25000"/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998154" y="19433619"/>
                    <a:ext cx="880885" cy="1000038"/>
                  </a:xfrm>
                  <a:prstGeom prst="rect">
                    <a:avLst/>
                  </a:prstGeom>
                </p:spPr>
              </p:pic>
              <p:sp>
                <p:nvSpPr>
                  <p:cNvPr id="136" name="Textfeld 135">
                    <a:extLst>
                      <a:ext uri="{FF2B5EF4-FFF2-40B4-BE49-F238E27FC236}">
                        <a16:creationId xmlns:a16="http://schemas.microsoft.com/office/drawing/2014/main" id="{175B6B76-FD45-4C7B-9067-912BA95DA88C}"/>
                      </a:ext>
                    </a:extLst>
                  </p:cNvPr>
                  <p:cNvSpPr txBox="1"/>
                  <p:nvPr/>
                </p:nvSpPr>
                <p:spPr>
                  <a:xfrm>
                    <a:off x="2033505" y="18845476"/>
                    <a:ext cx="843501" cy="52322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DE" sz="2800">
                        <a:solidFill>
                          <a:schemeClr val="bg1"/>
                        </a:solidFill>
                      </a:rPr>
                      <a:t>TP2</a:t>
                    </a:r>
                  </a:p>
                </p:txBody>
              </p:sp>
            </p:grpSp>
            <p:sp>
              <p:nvSpPr>
                <p:cNvPr id="132" name="Rechteck: abgerundete Ecken 131">
                  <a:extLst>
                    <a:ext uri="{FF2B5EF4-FFF2-40B4-BE49-F238E27FC236}">
                      <a16:creationId xmlns:a16="http://schemas.microsoft.com/office/drawing/2014/main" id="{64A95BA3-AB67-4045-AD64-ACF570AEFDE8}"/>
                    </a:ext>
                  </a:extLst>
                </p:cNvPr>
                <p:cNvSpPr/>
                <p:nvPr userDrawn="1"/>
              </p:nvSpPr>
              <p:spPr>
                <a:xfrm>
                  <a:off x="13779117" y="18688491"/>
                  <a:ext cx="216000" cy="1936750"/>
                </a:xfrm>
                <a:prstGeom prst="roundRect">
                  <a:avLst>
                    <a:gd name="adj" fmla="val 2980"/>
                  </a:avLst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Rechteck: abgerundete Ecken 132">
                  <a:extLst>
                    <a:ext uri="{FF2B5EF4-FFF2-40B4-BE49-F238E27FC236}">
                      <a16:creationId xmlns:a16="http://schemas.microsoft.com/office/drawing/2014/main" id="{DA810310-4954-44D3-A5BC-3A7201BCEC7F}"/>
                    </a:ext>
                  </a:extLst>
                </p:cNvPr>
                <p:cNvSpPr/>
                <p:nvPr userDrawn="1"/>
              </p:nvSpPr>
              <p:spPr>
                <a:xfrm>
                  <a:off x="14121998" y="18688491"/>
                  <a:ext cx="180000" cy="1936750"/>
                </a:xfrm>
                <a:prstGeom prst="roundRect">
                  <a:avLst>
                    <a:gd name="adj" fmla="val 2980"/>
                  </a:avLst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Pfeil: Fünfeck 133">
                  <a:extLst>
                    <a:ext uri="{FF2B5EF4-FFF2-40B4-BE49-F238E27FC236}">
                      <a16:creationId xmlns:a16="http://schemas.microsoft.com/office/drawing/2014/main" id="{F0D0B7DD-A2F0-4F7B-8BB6-8DC5D6E5DB5B}"/>
                    </a:ext>
                  </a:extLst>
                </p:cNvPr>
                <p:cNvSpPr/>
                <p:nvPr userDrawn="1"/>
              </p:nvSpPr>
              <p:spPr>
                <a:xfrm>
                  <a:off x="14428878" y="18688491"/>
                  <a:ext cx="308168" cy="1936800"/>
                </a:xfrm>
                <a:prstGeom prst="homePlate">
                  <a:avLst/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6" name="Gruppieren 115">
                <a:extLst>
                  <a:ext uri="{FF2B5EF4-FFF2-40B4-BE49-F238E27FC236}">
                    <a16:creationId xmlns:a16="http://schemas.microsoft.com/office/drawing/2014/main" id="{00365572-17E5-4328-83FB-011B5DD4415E}"/>
                  </a:ext>
                </a:extLst>
              </p:cNvPr>
              <p:cNvGrpSpPr/>
              <p:nvPr/>
            </p:nvGrpSpPr>
            <p:grpSpPr>
              <a:xfrm>
                <a:off x="9811632" y="18688492"/>
                <a:ext cx="6032643" cy="1936850"/>
                <a:chOff x="9811632" y="18688492"/>
                <a:chExt cx="6032643" cy="1936850"/>
              </a:xfrm>
            </p:grpSpPr>
            <p:grpSp>
              <p:nvGrpSpPr>
                <p:cNvPr id="117" name="Gruppieren 116">
                  <a:extLst>
                    <a:ext uri="{FF2B5EF4-FFF2-40B4-BE49-F238E27FC236}">
                      <a16:creationId xmlns:a16="http://schemas.microsoft.com/office/drawing/2014/main" id="{25143B76-7FE2-4AB3-A039-D8F9C96767A9}"/>
                    </a:ext>
                  </a:extLst>
                </p:cNvPr>
                <p:cNvGrpSpPr/>
                <p:nvPr/>
              </p:nvGrpSpPr>
              <p:grpSpPr>
                <a:xfrm>
                  <a:off x="9811632" y="18688542"/>
                  <a:ext cx="6032642" cy="1936800"/>
                  <a:chOff x="9811632" y="18688542"/>
                  <a:chExt cx="6032642" cy="1936800"/>
                </a:xfrm>
              </p:grpSpPr>
              <p:sp>
                <p:nvSpPr>
                  <p:cNvPr id="122" name="Rechteck: abgerundete Ecken 121">
                    <a:extLst>
                      <a:ext uri="{FF2B5EF4-FFF2-40B4-BE49-F238E27FC236}">
                        <a16:creationId xmlns:a16="http://schemas.microsoft.com/office/drawing/2014/main" id="{85A7E35B-75CD-4F83-A2CF-778790EC77E9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14906879" y="18688592"/>
                    <a:ext cx="937395" cy="1936750"/>
                  </a:xfrm>
                  <a:prstGeom prst="roundRect">
                    <a:avLst>
                      <a:gd name="adj" fmla="val 2980"/>
                    </a:avLst>
                  </a:prstGeom>
                  <a:solidFill>
                    <a:schemeClr val="bg1"/>
                  </a:solidFill>
                  <a:ln w="38100">
                    <a:solidFill>
                      <a:srgbClr val="002060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4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83B72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3" name="Rechteck: abgerundete Ecken 122">
                    <a:extLst>
                      <a:ext uri="{FF2B5EF4-FFF2-40B4-BE49-F238E27FC236}">
                        <a16:creationId xmlns:a16="http://schemas.microsoft.com/office/drawing/2014/main" id="{E8BF814E-3DBB-456F-B551-33905AC2CCCC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9811632" y="18688542"/>
                    <a:ext cx="3840603" cy="1936750"/>
                  </a:xfrm>
                  <a:prstGeom prst="roundRect">
                    <a:avLst>
                      <a:gd name="adj" fmla="val 2980"/>
                    </a:avLst>
                  </a:prstGeom>
                  <a:solidFill>
                    <a:schemeClr val="bg1"/>
                  </a:solidFill>
                  <a:ln w="38100">
                    <a:solidFill>
                      <a:srgbClr val="002060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4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83B72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18" name="Rechteck: abgerundete Ecken 117">
                  <a:extLst>
                    <a:ext uri="{FF2B5EF4-FFF2-40B4-BE49-F238E27FC236}">
                      <a16:creationId xmlns:a16="http://schemas.microsoft.com/office/drawing/2014/main" id="{F26214BF-E3E9-42D7-BB03-EE61013EC6B6}"/>
                    </a:ext>
                  </a:extLst>
                </p:cNvPr>
                <p:cNvSpPr/>
                <p:nvPr/>
              </p:nvSpPr>
              <p:spPr>
                <a:xfrm rot="16200000">
                  <a:off x="14422627" y="19203644"/>
                  <a:ext cx="1936800" cy="906496"/>
                </a:xfrm>
                <a:prstGeom prst="roundRect">
                  <a:avLst>
                    <a:gd name="adj" fmla="val 2980"/>
                  </a:avLst>
                </a:prstGeom>
                <a:solidFill>
                  <a:srgbClr val="002060"/>
                </a:solidFill>
                <a:ln w="38100">
                  <a:solidFill>
                    <a:srgbClr val="00206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119" name="Gruppieren 118">
                  <a:extLst>
                    <a:ext uri="{FF2B5EF4-FFF2-40B4-BE49-F238E27FC236}">
                      <a16:creationId xmlns:a16="http://schemas.microsoft.com/office/drawing/2014/main" id="{4B6EDED3-7237-42C5-A3B3-B9046EBC907F}"/>
                    </a:ext>
                  </a:extLst>
                </p:cNvPr>
                <p:cNvGrpSpPr/>
                <p:nvPr/>
              </p:nvGrpSpPr>
              <p:grpSpPr>
                <a:xfrm>
                  <a:off x="14950585" y="18862802"/>
                  <a:ext cx="880885" cy="1588181"/>
                  <a:chOff x="1998154" y="18845476"/>
                  <a:chExt cx="880885" cy="1588181"/>
                </a:xfrm>
              </p:grpSpPr>
              <p:pic>
                <p:nvPicPr>
                  <p:cNvPr id="120" name="Grafik 119">
                    <a:extLst>
                      <a:ext uri="{FF2B5EF4-FFF2-40B4-BE49-F238E27FC236}">
                        <a16:creationId xmlns:a16="http://schemas.microsoft.com/office/drawing/2014/main" id="{8C05DF8C-82F1-43E4-88C3-67EA9B3348A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>
                    <a:biLevel thresh="25000"/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998154" y="19433619"/>
                    <a:ext cx="880885" cy="1000038"/>
                  </a:xfrm>
                  <a:prstGeom prst="rect">
                    <a:avLst/>
                  </a:prstGeom>
                </p:spPr>
              </p:pic>
              <p:sp>
                <p:nvSpPr>
                  <p:cNvPr id="121" name="Textfeld 120">
                    <a:extLst>
                      <a:ext uri="{FF2B5EF4-FFF2-40B4-BE49-F238E27FC236}">
                        <a16:creationId xmlns:a16="http://schemas.microsoft.com/office/drawing/2014/main" id="{DE619066-4A05-43CD-8820-B37308037BBF}"/>
                      </a:ext>
                    </a:extLst>
                  </p:cNvPr>
                  <p:cNvSpPr txBox="1"/>
                  <p:nvPr/>
                </p:nvSpPr>
                <p:spPr>
                  <a:xfrm>
                    <a:off x="2033505" y="18845476"/>
                    <a:ext cx="843501" cy="52322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DE" sz="2800">
                        <a:solidFill>
                          <a:schemeClr val="bg1"/>
                        </a:solidFill>
                      </a:rPr>
                      <a:t>TP2</a:t>
                    </a:r>
                  </a:p>
                </p:txBody>
              </p:sp>
            </p:grpSp>
          </p:grpSp>
        </p:grpSp>
        <p:grpSp>
          <p:nvGrpSpPr>
            <p:cNvPr id="137" name="Gruppieren 136">
              <a:extLst>
                <a:ext uri="{FF2B5EF4-FFF2-40B4-BE49-F238E27FC236}">
                  <a16:creationId xmlns:a16="http://schemas.microsoft.com/office/drawing/2014/main" id="{A8E835AF-959E-40A8-ADAF-79FD2D00FE85}"/>
                </a:ext>
              </a:extLst>
            </p:cNvPr>
            <p:cNvGrpSpPr/>
            <p:nvPr userDrawn="1"/>
          </p:nvGrpSpPr>
          <p:grpSpPr>
            <a:xfrm>
              <a:off x="2024118" y="21402387"/>
              <a:ext cx="13831596" cy="1942747"/>
              <a:chOff x="2012679" y="18682645"/>
              <a:chExt cx="13831596" cy="1942747"/>
            </a:xfrm>
          </p:grpSpPr>
          <p:grpSp>
            <p:nvGrpSpPr>
              <p:cNvPr id="138" name="Gruppieren 137">
                <a:extLst>
                  <a:ext uri="{FF2B5EF4-FFF2-40B4-BE49-F238E27FC236}">
                    <a16:creationId xmlns:a16="http://schemas.microsoft.com/office/drawing/2014/main" id="{14949D3C-2C2F-4720-AB11-7C58BE2D82FE}"/>
                  </a:ext>
                </a:extLst>
              </p:cNvPr>
              <p:cNvGrpSpPr/>
              <p:nvPr/>
            </p:nvGrpSpPr>
            <p:grpSpPr>
              <a:xfrm>
                <a:off x="2012679" y="18682645"/>
                <a:ext cx="12730132" cy="1942747"/>
                <a:chOff x="2012679" y="18682645"/>
                <a:chExt cx="12730132" cy="1942747"/>
              </a:xfrm>
            </p:grpSpPr>
            <p:pic>
              <p:nvPicPr>
                <p:cNvPr id="145" name="Grafik 144">
                  <a:extLst>
                    <a:ext uri="{FF2B5EF4-FFF2-40B4-BE49-F238E27FC236}">
                      <a16:creationId xmlns:a16="http://schemas.microsoft.com/office/drawing/2014/main" id="{385393B9-A055-4D50-B914-1B957AE97F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12672" y="18968716"/>
                  <a:ext cx="1250800" cy="1419989"/>
                </a:xfrm>
                <a:prstGeom prst="rect">
                  <a:avLst/>
                </a:prstGeom>
              </p:spPr>
            </p:pic>
            <p:sp>
              <p:nvSpPr>
                <p:cNvPr id="146" name="Textfeld 145">
                  <a:extLst>
                    <a:ext uri="{FF2B5EF4-FFF2-40B4-BE49-F238E27FC236}">
                      <a16:creationId xmlns:a16="http://schemas.microsoft.com/office/drawing/2014/main" id="{F6F816AC-BC70-4335-9447-9A80B31616F8}"/>
                    </a:ext>
                  </a:extLst>
                </p:cNvPr>
                <p:cNvSpPr txBox="1"/>
                <p:nvPr/>
              </p:nvSpPr>
              <p:spPr>
                <a:xfrm>
                  <a:off x="3735631" y="18736438"/>
                  <a:ext cx="1447832" cy="181588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457200" marR="0" lvl="0" indent="-45720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de-DE" sz="28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aaa</a:t>
                  </a:r>
                  <a:endParaRPr kumimoji="0" lang="de-DE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457200" marR="0" lvl="0" indent="-45720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de-DE" sz="28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bbb</a:t>
                  </a:r>
                  <a:endParaRPr kumimoji="0" lang="de-DE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457200" marR="0" lvl="0" indent="-45720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de-DE" sz="2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ccc</a:t>
                  </a:r>
                </a:p>
                <a:p>
                  <a:pPr marL="457200" marR="0" lvl="0" indent="-45720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de-DE" sz="28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ddd</a:t>
                  </a:r>
                  <a:endParaRPr kumimoji="0" lang="de-DE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Rechteck: abgerundete Ecken 146">
                  <a:extLst>
                    <a:ext uri="{FF2B5EF4-FFF2-40B4-BE49-F238E27FC236}">
                      <a16:creationId xmlns:a16="http://schemas.microsoft.com/office/drawing/2014/main" id="{8F304498-6903-49E5-9E45-905DAE1D5D79}"/>
                    </a:ext>
                  </a:extLst>
                </p:cNvPr>
                <p:cNvSpPr/>
                <p:nvPr/>
              </p:nvSpPr>
              <p:spPr>
                <a:xfrm>
                  <a:off x="2027203" y="18688592"/>
                  <a:ext cx="5112000" cy="1936750"/>
                </a:xfrm>
                <a:prstGeom prst="roundRect">
                  <a:avLst>
                    <a:gd name="adj" fmla="val 2980"/>
                  </a:avLst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Rechteck: abgerundete Ecken 147">
                  <a:extLst>
                    <a:ext uri="{FF2B5EF4-FFF2-40B4-BE49-F238E27FC236}">
                      <a16:creationId xmlns:a16="http://schemas.microsoft.com/office/drawing/2014/main" id="{DBF6AD53-4E6F-4EF2-AAEF-4F85D0B014F3}"/>
                    </a:ext>
                  </a:extLst>
                </p:cNvPr>
                <p:cNvSpPr/>
                <p:nvPr/>
              </p:nvSpPr>
              <p:spPr>
                <a:xfrm rot="16200000">
                  <a:off x="1497527" y="19203694"/>
                  <a:ext cx="1936800" cy="906496"/>
                </a:xfrm>
                <a:prstGeom prst="roundRect">
                  <a:avLst>
                    <a:gd name="adj" fmla="val 2980"/>
                  </a:avLst>
                </a:prstGeom>
                <a:solidFill>
                  <a:srgbClr val="002060"/>
                </a:solidFill>
                <a:ln w="38100">
                  <a:solidFill>
                    <a:srgbClr val="00206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Rechteck: abgerundete Ecken 148">
                  <a:extLst>
                    <a:ext uri="{FF2B5EF4-FFF2-40B4-BE49-F238E27FC236}">
                      <a16:creationId xmlns:a16="http://schemas.microsoft.com/office/drawing/2014/main" id="{2C2E6F1B-C0F0-4F29-9ED2-9198C8F6FECE}"/>
                    </a:ext>
                  </a:extLst>
                </p:cNvPr>
                <p:cNvSpPr/>
                <p:nvPr/>
              </p:nvSpPr>
              <p:spPr>
                <a:xfrm>
                  <a:off x="7266084" y="18688592"/>
                  <a:ext cx="216000" cy="1936750"/>
                </a:xfrm>
                <a:prstGeom prst="roundRect">
                  <a:avLst>
                    <a:gd name="adj" fmla="val 2980"/>
                  </a:avLst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Rechteck: abgerundete Ecken 149">
                  <a:extLst>
                    <a:ext uri="{FF2B5EF4-FFF2-40B4-BE49-F238E27FC236}">
                      <a16:creationId xmlns:a16="http://schemas.microsoft.com/office/drawing/2014/main" id="{BC8EBD0C-5E6A-4A3B-9575-F85485F1BB1C}"/>
                    </a:ext>
                  </a:extLst>
                </p:cNvPr>
                <p:cNvSpPr/>
                <p:nvPr/>
              </p:nvSpPr>
              <p:spPr>
                <a:xfrm>
                  <a:off x="7608965" y="18688592"/>
                  <a:ext cx="180000" cy="1936750"/>
                </a:xfrm>
                <a:prstGeom prst="roundRect">
                  <a:avLst>
                    <a:gd name="adj" fmla="val 2980"/>
                  </a:avLst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Pfeil: Fünfeck 150">
                  <a:extLst>
                    <a:ext uri="{FF2B5EF4-FFF2-40B4-BE49-F238E27FC236}">
                      <a16:creationId xmlns:a16="http://schemas.microsoft.com/office/drawing/2014/main" id="{648CC38C-0D02-4457-845E-78BA25709CD5}"/>
                    </a:ext>
                  </a:extLst>
                </p:cNvPr>
                <p:cNvSpPr/>
                <p:nvPr/>
              </p:nvSpPr>
              <p:spPr>
                <a:xfrm>
                  <a:off x="7915845" y="18688592"/>
                  <a:ext cx="308168" cy="1936800"/>
                </a:xfrm>
                <a:prstGeom prst="homePlate">
                  <a:avLst/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Textfeld 151">
                  <a:extLst>
                    <a:ext uri="{FF2B5EF4-FFF2-40B4-BE49-F238E27FC236}">
                      <a16:creationId xmlns:a16="http://schemas.microsoft.com/office/drawing/2014/main" id="{082BC843-BDB0-402C-8C84-24BC4DB124FB}"/>
                    </a:ext>
                  </a:extLst>
                </p:cNvPr>
                <p:cNvSpPr txBox="1"/>
                <p:nvPr/>
              </p:nvSpPr>
              <p:spPr>
                <a:xfrm>
                  <a:off x="2060836" y="18862852"/>
                  <a:ext cx="843501" cy="52322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2800">
                      <a:solidFill>
                        <a:schemeClr val="bg1"/>
                      </a:solidFill>
                    </a:rPr>
                    <a:t>TP3</a:t>
                  </a:r>
                </a:p>
              </p:txBody>
            </p:sp>
            <p:sp>
              <p:nvSpPr>
                <p:cNvPr id="153" name="Rechteck: abgerundete Ecken 152">
                  <a:extLst>
                    <a:ext uri="{FF2B5EF4-FFF2-40B4-BE49-F238E27FC236}">
                      <a16:creationId xmlns:a16="http://schemas.microsoft.com/office/drawing/2014/main" id="{0E34503C-36A7-4087-A33D-F229840FCF3B}"/>
                    </a:ext>
                  </a:extLst>
                </p:cNvPr>
                <p:cNvSpPr/>
                <p:nvPr userDrawn="1"/>
              </p:nvSpPr>
              <p:spPr>
                <a:xfrm>
                  <a:off x="13784882" y="18682645"/>
                  <a:ext cx="216000" cy="1936750"/>
                </a:xfrm>
                <a:prstGeom prst="roundRect">
                  <a:avLst>
                    <a:gd name="adj" fmla="val 2980"/>
                  </a:avLst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Rechteck: abgerundete Ecken 153">
                  <a:extLst>
                    <a:ext uri="{FF2B5EF4-FFF2-40B4-BE49-F238E27FC236}">
                      <a16:creationId xmlns:a16="http://schemas.microsoft.com/office/drawing/2014/main" id="{88EDEF51-7425-41D1-B964-D1DCAB1DA938}"/>
                    </a:ext>
                  </a:extLst>
                </p:cNvPr>
                <p:cNvSpPr/>
                <p:nvPr userDrawn="1"/>
              </p:nvSpPr>
              <p:spPr>
                <a:xfrm>
                  <a:off x="14127763" y="18682645"/>
                  <a:ext cx="180000" cy="1936750"/>
                </a:xfrm>
                <a:prstGeom prst="roundRect">
                  <a:avLst>
                    <a:gd name="adj" fmla="val 2980"/>
                  </a:avLst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Pfeil: Fünfeck 154">
                  <a:extLst>
                    <a:ext uri="{FF2B5EF4-FFF2-40B4-BE49-F238E27FC236}">
                      <a16:creationId xmlns:a16="http://schemas.microsoft.com/office/drawing/2014/main" id="{A1E7A35B-C757-46C2-8F83-7685DD3E458B}"/>
                    </a:ext>
                  </a:extLst>
                </p:cNvPr>
                <p:cNvSpPr/>
                <p:nvPr userDrawn="1"/>
              </p:nvSpPr>
              <p:spPr>
                <a:xfrm>
                  <a:off x="14434643" y="18682645"/>
                  <a:ext cx="308168" cy="1936800"/>
                </a:xfrm>
                <a:prstGeom prst="homePlate">
                  <a:avLst/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9" name="Gruppieren 138">
                <a:extLst>
                  <a:ext uri="{FF2B5EF4-FFF2-40B4-BE49-F238E27FC236}">
                    <a16:creationId xmlns:a16="http://schemas.microsoft.com/office/drawing/2014/main" id="{FDF1B0BB-C3CD-4F9B-B352-751ECE38C27E}"/>
                  </a:ext>
                </a:extLst>
              </p:cNvPr>
              <p:cNvGrpSpPr/>
              <p:nvPr/>
            </p:nvGrpSpPr>
            <p:grpSpPr>
              <a:xfrm>
                <a:off x="9811633" y="18688492"/>
                <a:ext cx="6032642" cy="1936850"/>
                <a:chOff x="9811633" y="18688492"/>
                <a:chExt cx="6032642" cy="1936850"/>
              </a:xfrm>
            </p:grpSpPr>
            <p:grpSp>
              <p:nvGrpSpPr>
                <p:cNvPr id="140" name="Gruppieren 139">
                  <a:extLst>
                    <a:ext uri="{FF2B5EF4-FFF2-40B4-BE49-F238E27FC236}">
                      <a16:creationId xmlns:a16="http://schemas.microsoft.com/office/drawing/2014/main" id="{6080E836-6BF6-4337-9383-FD8C51CC59E3}"/>
                    </a:ext>
                  </a:extLst>
                </p:cNvPr>
                <p:cNvGrpSpPr/>
                <p:nvPr/>
              </p:nvGrpSpPr>
              <p:grpSpPr>
                <a:xfrm>
                  <a:off x="9811633" y="18688542"/>
                  <a:ext cx="6032641" cy="1936800"/>
                  <a:chOff x="9811633" y="18688542"/>
                  <a:chExt cx="6032641" cy="1936800"/>
                </a:xfrm>
              </p:grpSpPr>
              <p:sp>
                <p:nvSpPr>
                  <p:cNvPr id="143" name="Rechteck: abgerundete Ecken 142">
                    <a:extLst>
                      <a:ext uri="{FF2B5EF4-FFF2-40B4-BE49-F238E27FC236}">
                        <a16:creationId xmlns:a16="http://schemas.microsoft.com/office/drawing/2014/main" id="{CF6A1273-5F83-46B8-A3CE-75CF17109842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14906881" y="18688592"/>
                    <a:ext cx="937393" cy="1936750"/>
                  </a:xfrm>
                  <a:prstGeom prst="roundRect">
                    <a:avLst>
                      <a:gd name="adj" fmla="val 2980"/>
                    </a:avLst>
                  </a:prstGeom>
                  <a:solidFill>
                    <a:schemeClr val="bg1"/>
                  </a:solidFill>
                  <a:ln w="38100">
                    <a:solidFill>
                      <a:srgbClr val="002060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4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83B72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4" name="Rechteck: abgerundete Ecken 143">
                    <a:extLst>
                      <a:ext uri="{FF2B5EF4-FFF2-40B4-BE49-F238E27FC236}">
                        <a16:creationId xmlns:a16="http://schemas.microsoft.com/office/drawing/2014/main" id="{B763B776-CC9E-4DBD-9C5B-FA80452F8210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9811633" y="18688542"/>
                    <a:ext cx="3846368" cy="1936750"/>
                  </a:xfrm>
                  <a:prstGeom prst="roundRect">
                    <a:avLst>
                      <a:gd name="adj" fmla="val 2980"/>
                    </a:avLst>
                  </a:prstGeom>
                  <a:solidFill>
                    <a:schemeClr val="bg1"/>
                  </a:solidFill>
                  <a:ln w="38100">
                    <a:solidFill>
                      <a:srgbClr val="002060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4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83B72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1" name="Rechteck: abgerundete Ecken 140">
                  <a:extLst>
                    <a:ext uri="{FF2B5EF4-FFF2-40B4-BE49-F238E27FC236}">
                      <a16:creationId xmlns:a16="http://schemas.microsoft.com/office/drawing/2014/main" id="{957839C0-0C82-46A9-944E-F8EA006DFAF1}"/>
                    </a:ext>
                  </a:extLst>
                </p:cNvPr>
                <p:cNvSpPr/>
                <p:nvPr/>
              </p:nvSpPr>
              <p:spPr>
                <a:xfrm rot="16200000">
                  <a:off x="14422627" y="19203644"/>
                  <a:ext cx="1936800" cy="906496"/>
                </a:xfrm>
                <a:prstGeom prst="roundRect">
                  <a:avLst>
                    <a:gd name="adj" fmla="val 2980"/>
                  </a:avLst>
                </a:prstGeom>
                <a:solidFill>
                  <a:srgbClr val="002060"/>
                </a:solidFill>
                <a:ln w="38100">
                  <a:solidFill>
                    <a:srgbClr val="00206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Textfeld 141">
                  <a:extLst>
                    <a:ext uri="{FF2B5EF4-FFF2-40B4-BE49-F238E27FC236}">
                      <a16:creationId xmlns:a16="http://schemas.microsoft.com/office/drawing/2014/main" id="{C4DF49D1-F9D2-4892-8038-8C707B452B30}"/>
                    </a:ext>
                  </a:extLst>
                </p:cNvPr>
                <p:cNvSpPr txBox="1"/>
                <p:nvPr/>
              </p:nvSpPr>
              <p:spPr>
                <a:xfrm>
                  <a:off x="14985936" y="18862802"/>
                  <a:ext cx="843501" cy="52322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2800">
                      <a:solidFill>
                        <a:schemeClr val="bg1"/>
                      </a:solidFill>
                    </a:rPr>
                    <a:t>TP3</a:t>
                  </a:r>
                </a:p>
              </p:txBody>
            </p:sp>
          </p:grpSp>
        </p:grpSp>
        <p:grpSp>
          <p:nvGrpSpPr>
            <p:cNvPr id="156" name="Gruppieren 155">
              <a:extLst>
                <a:ext uri="{FF2B5EF4-FFF2-40B4-BE49-F238E27FC236}">
                  <a16:creationId xmlns:a16="http://schemas.microsoft.com/office/drawing/2014/main" id="{CF94FA57-E177-477F-AAAE-13A217D18F9D}"/>
                </a:ext>
              </a:extLst>
            </p:cNvPr>
            <p:cNvGrpSpPr/>
            <p:nvPr userDrawn="1"/>
          </p:nvGrpSpPr>
          <p:grpSpPr>
            <a:xfrm>
              <a:off x="2024118" y="24118999"/>
              <a:ext cx="13831596" cy="1945371"/>
              <a:chOff x="2012679" y="18680021"/>
              <a:chExt cx="13831596" cy="1945371"/>
            </a:xfrm>
          </p:grpSpPr>
          <p:grpSp>
            <p:nvGrpSpPr>
              <p:cNvPr id="157" name="Gruppieren 156">
                <a:extLst>
                  <a:ext uri="{FF2B5EF4-FFF2-40B4-BE49-F238E27FC236}">
                    <a16:creationId xmlns:a16="http://schemas.microsoft.com/office/drawing/2014/main" id="{2031DB83-C646-4747-A0E5-8EB2AA1B13DD}"/>
                  </a:ext>
                </a:extLst>
              </p:cNvPr>
              <p:cNvGrpSpPr/>
              <p:nvPr/>
            </p:nvGrpSpPr>
            <p:grpSpPr>
              <a:xfrm>
                <a:off x="2012679" y="18680021"/>
                <a:ext cx="12724367" cy="1945371"/>
                <a:chOff x="2012679" y="18680021"/>
                <a:chExt cx="12724367" cy="1945371"/>
              </a:xfrm>
            </p:grpSpPr>
            <p:pic>
              <p:nvPicPr>
                <p:cNvPr id="164" name="Grafik 163">
                  <a:extLst>
                    <a:ext uri="{FF2B5EF4-FFF2-40B4-BE49-F238E27FC236}">
                      <a16:creationId xmlns:a16="http://schemas.microsoft.com/office/drawing/2014/main" id="{7ECCD8F4-C94A-441E-B564-CA3D841BAC8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12672" y="18968716"/>
                  <a:ext cx="1250800" cy="1419989"/>
                </a:xfrm>
                <a:prstGeom prst="rect">
                  <a:avLst/>
                </a:prstGeom>
              </p:spPr>
            </p:pic>
            <p:sp>
              <p:nvSpPr>
                <p:cNvPr id="165" name="Textfeld 164">
                  <a:extLst>
                    <a:ext uri="{FF2B5EF4-FFF2-40B4-BE49-F238E27FC236}">
                      <a16:creationId xmlns:a16="http://schemas.microsoft.com/office/drawing/2014/main" id="{2FEB98DA-3547-47CC-B380-420E66703EA5}"/>
                    </a:ext>
                  </a:extLst>
                </p:cNvPr>
                <p:cNvSpPr txBox="1"/>
                <p:nvPr/>
              </p:nvSpPr>
              <p:spPr>
                <a:xfrm>
                  <a:off x="3735631" y="18736438"/>
                  <a:ext cx="1447832" cy="181588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457200" marR="0" lvl="0" indent="-45720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de-DE" sz="28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aaa</a:t>
                  </a:r>
                  <a:endParaRPr kumimoji="0" lang="de-DE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457200" marR="0" lvl="0" indent="-45720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de-DE" sz="28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bbb</a:t>
                  </a:r>
                  <a:endParaRPr kumimoji="0" lang="de-DE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457200" marR="0" lvl="0" indent="-45720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de-DE" sz="2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ccc</a:t>
                  </a:r>
                </a:p>
                <a:p>
                  <a:pPr marL="457200" marR="0" lvl="0" indent="-45720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de-DE" sz="28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ddd</a:t>
                  </a:r>
                  <a:endParaRPr kumimoji="0" lang="de-DE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Rechteck: abgerundete Ecken 165">
                  <a:extLst>
                    <a:ext uri="{FF2B5EF4-FFF2-40B4-BE49-F238E27FC236}">
                      <a16:creationId xmlns:a16="http://schemas.microsoft.com/office/drawing/2014/main" id="{B2CCBB84-9867-4786-AFBE-E5AE04AC680E}"/>
                    </a:ext>
                  </a:extLst>
                </p:cNvPr>
                <p:cNvSpPr/>
                <p:nvPr/>
              </p:nvSpPr>
              <p:spPr>
                <a:xfrm>
                  <a:off x="2027203" y="18688592"/>
                  <a:ext cx="5112000" cy="1936750"/>
                </a:xfrm>
                <a:prstGeom prst="roundRect">
                  <a:avLst>
                    <a:gd name="adj" fmla="val 2980"/>
                  </a:avLst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Rechteck: abgerundete Ecken 166">
                  <a:extLst>
                    <a:ext uri="{FF2B5EF4-FFF2-40B4-BE49-F238E27FC236}">
                      <a16:creationId xmlns:a16="http://schemas.microsoft.com/office/drawing/2014/main" id="{7DA8D877-F9C3-4960-8501-F06041BA434B}"/>
                    </a:ext>
                  </a:extLst>
                </p:cNvPr>
                <p:cNvSpPr/>
                <p:nvPr/>
              </p:nvSpPr>
              <p:spPr>
                <a:xfrm rot="16200000">
                  <a:off x="1497527" y="19203694"/>
                  <a:ext cx="1936800" cy="906496"/>
                </a:xfrm>
                <a:prstGeom prst="roundRect">
                  <a:avLst>
                    <a:gd name="adj" fmla="val 2980"/>
                  </a:avLst>
                </a:prstGeom>
                <a:solidFill>
                  <a:srgbClr val="002060"/>
                </a:solidFill>
                <a:ln w="38100">
                  <a:solidFill>
                    <a:srgbClr val="00206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Rechteck: abgerundete Ecken 167">
                  <a:extLst>
                    <a:ext uri="{FF2B5EF4-FFF2-40B4-BE49-F238E27FC236}">
                      <a16:creationId xmlns:a16="http://schemas.microsoft.com/office/drawing/2014/main" id="{D46D6082-1B5D-4826-B398-A882AF48D2C7}"/>
                    </a:ext>
                  </a:extLst>
                </p:cNvPr>
                <p:cNvSpPr/>
                <p:nvPr userDrawn="1"/>
              </p:nvSpPr>
              <p:spPr>
                <a:xfrm>
                  <a:off x="7266084" y="18688592"/>
                  <a:ext cx="216000" cy="1936750"/>
                </a:xfrm>
                <a:prstGeom prst="roundRect">
                  <a:avLst>
                    <a:gd name="adj" fmla="val 2980"/>
                  </a:avLst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Rechteck: abgerundete Ecken 168">
                  <a:extLst>
                    <a:ext uri="{FF2B5EF4-FFF2-40B4-BE49-F238E27FC236}">
                      <a16:creationId xmlns:a16="http://schemas.microsoft.com/office/drawing/2014/main" id="{78C137FA-74AA-4A1D-AA78-6B2D9F5ED925}"/>
                    </a:ext>
                  </a:extLst>
                </p:cNvPr>
                <p:cNvSpPr/>
                <p:nvPr userDrawn="1"/>
              </p:nvSpPr>
              <p:spPr>
                <a:xfrm>
                  <a:off x="7608965" y="18688592"/>
                  <a:ext cx="180000" cy="1936750"/>
                </a:xfrm>
                <a:prstGeom prst="roundRect">
                  <a:avLst>
                    <a:gd name="adj" fmla="val 2980"/>
                  </a:avLst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Pfeil: Fünfeck 169">
                  <a:extLst>
                    <a:ext uri="{FF2B5EF4-FFF2-40B4-BE49-F238E27FC236}">
                      <a16:creationId xmlns:a16="http://schemas.microsoft.com/office/drawing/2014/main" id="{48BD2CBA-18BE-4C9D-81D0-138026202758}"/>
                    </a:ext>
                  </a:extLst>
                </p:cNvPr>
                <p:cNvSpPr/>
                <p:nvPr userDrawn="1"/>
              </p:nvSpPr>
              <p:spPr>
                <a:xfrm>
                  <a:off x="7915845" y="18688592"/>
                  <a:ext cx="308168" cy="1936800"/>
                </a:xfrm>
                <a:prstGeom prst="homePlate">
                  <a:avLst/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Textfeld 170">
                  <a:extLst>
                    <a:ext uri="{FF2B5EF4-FFF2-40B4-BE49-F238E27FC236}">
                      <a16:creationId xmlns:a16="http://schemas.microsoft.com/office/drawing/2014/main" id="{54F55375-35EB-4AF3-891F-EAE9D22BAB3E}"/>
                    </a:ext>
                  </a:extLst>
                </p:cNvPr>
                <p:cNvSpPr txBox="1"/>
                <p:nvPr/>
              </p:nvSpPr>
              <p:spPr>
                <a:xfrm>
                  <a:off x="2060836" y="18862852"/>
                  <a:ext cx="843501" cy="52322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2800">
                      <a:solidFill>
                        <a:schemeClr val="bg1"/>
                      </a:solidFill>
                    </a:rPr>
                    <a:t>TP4</a:t>
                  </a:r>
                </a:p>
              </p:txBody>
            </p:sp>
            <p:sp>
              <p:nvSpPr>
                <p:cNvPr id="172" name="Rechteck: abgerundete Ecken 171">
                  <a:extLst>
                    <a:ext uri="{FF2B5EF4-FFF2-40B4-BE49-F238E27FC236}">
                      <a16:creationId xmlns:a16="http://schemas.microsoft.com/office/drawing/2014/main" id="{C61D227F-43D0-4CD3-886B-25DA353C9C46}"/>
                    </a:ext>
                  </a:extLst>
                </p:cNvPr>
                <p:cNvSpPr/>
                <p:nvPr userDrawn="1"/>
              </p:nvSpPr>
              <p:spPr>
                <a:xfrm>
                  <a:off x="13779117" y="18680021"/>
                  <a:ext cx="216000" cy="1936750"/>
                </a:xfrm>
                <a:prstGeom prst="roundRect">
                  <a:avLst>
                    <a:gd name="adj" fmla="val 2980"/>
                  </a:avLst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Rechteck: abgerundete Ecken 172">
                  <a:extLst>
                    <a:ext uri="{FF2B5EF4-FFF2-40B4-BE49-F238E27FC236}">
                      <a16:creationId xmlns:a16="http://schemas.microsoft.com/office/drawing/2014/main" id="{498C05D8-0E91-43D0-965C-A81A3174F364}"/>
                    </a:ext>
                  </a:extLst>
                </p:cNvPr>
                <p:cNvSpPr/>
                <p:nvPr userDrawn="1"/>
              </p:nvSpPr>
              <p:spPr>
                <a:xfrm>
                  <a:off x="14121998" y="18680021"/>
                  <a:ext cx="180000" cy="1936750"/>
                </a:xfrm>
                <a:prstGeom prst="roundRect">
                  <a:avLst>
                    <a:gd name="adj" fmla="val 2980"/>
                  </a:avLst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Pfeil: Fünfeck 173">
                  <a:extLst>
                    <a:ext uri="{FF2B5EF4-FFF2-40B4-BE49-F238E27FC236}">
                      <a16:creationId xmlns:a16="http://schemas.microsoft.com/office/drawing/2014/main" id="{6C3AAB27-2C99-4398-9296-C53D68F64F71}"/>
                    </a:ext>
                  </a:extLst>
                </p:cNvPr>
                <p:cNvSpPr/>
                <p:nvPr userDrawn="1"/>
              </p:nvSpPr>
              <p:spPr>
                <a:xfrm>
                  <a:off x="14428878" y="18680021"/>
                  <a:ext cx="308168" cy="1936800"/>
                </a:xfrm>
                <a:prstGeom prst="homePlate">
                  <a:avLst/>
                </a:prstGeom>
                <a:solidFill>
                  <a:schemeClr val="bg1"/>
                </a:solidFill>
                <a:ln w="38100">
                  <a:solidFill>
                    <a:srgbClr val="00206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83B72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8" name="Gruppieren 157">
                <a:extLst>
                  <a:ext uri="{FF2B5EF4-FFF2-40B4-BE49-F238E27FC236}">
                    <a16:creationId xmlns:a16="http://schemas.microsoft.com/office/drawing/2014/main" id="{1D26A6D5-ACBB-42CD-8638-1F24DEC1D48A}"/>
                  </a:ext>
                </a:extLst>
              </p:cNvPr>
              <p:cNvGrpSpPr/>
              <p:nvPr/>
            </p:nvGrpSpPr>
            <p:grpSpPr>
              <a:xfrm>
                <a:off x="9811633" y="18688492"/>
                <a:ext cx="6032642" cy="1936850"/>
                <a:chOff x="9811633" y="18688492"/>
                <a:chExt cx="6032642" cy="1936850"/>
              </a:xfrm>
            </p:grpSpPr>
            <p:grpSp>
              <p:nvGrpSpPr>
                <p:cNvPr id="159" name="Gruppieren 158">
                  <a:extLst>
                    <a:ext uri="{FF2B5EF4-FFF2-40B4-BE49-F238E27FC236}">
                      <a16:creationId xmlns:a16="http://schemas.microsoft.com/office/drawing/2014/main" id="{26A8D697-0940-4728-9076-93E0CD82C1C5}"/>
                    </a:ext>
                  </a:extLst>
                </p:cNvPr>
                <p:cNvGrpSpPr/>
                <p:nvPr/>
              </p:nvGrpSpPr>
              <p:grpSpPr>
                <a:xfrm>
                  <a:off x="9811633" y="18688542"/>
                  <a:ext cx="6032641" cy="1936800"/>
                  <a:chOff x="9811633" y="18688542"/>
                  <a:chExt cx="6032641" cy="1936800"/>
                </a:xfrm>
              </p:grpSpPr>
              <p:sp>
                <p:nvSpPr>
                  <p:cNvPr id="162" name="Rechteck: abgerundete Ecken 161">
                    <a:extLst>
                      <a:ext uri="{FF2B5EF4-FFF2-40B4-BE49-F238E27FC236}">
                        <a16:creationId xmlns:a16="http://schemas.microsoft.com/office/drawing/2014/main" id="{80A49E4E-F87C-46D6-9B3A-25B6B50D78BC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14906877" y="18688592"/>
                    <a:ext cx="937397" cy="1936750"/>
                  </a:xfrm>
                  <a:prstGeom prst="roundRect">
                    <a:avLst>
                      <a:gd name="adj" fmla="val 2980"/>
                    </a:avLst>
                  </a:prstGeom>
                  <a:solidFill>
                    <a:schemeClr val="bg1"/>
                  </a:solidFill>
                  <a:ln w="38100">
                    <a:solidFill>
                      <a:srgbClr val="002060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4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83B72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3" name="Rechteck: abgerundete Ecken 162">
                    <a:extLst>
                      <a:ext uri="{FF2B5EF4-FFF2-40B4-BE49-F238E27FC236}">
                        <a16:creationId xmlns:a16="http://schemas.microsoft.com/office/drawing/2014/main" id="{0441C8FE-4A36-4848-9A47-F7611E5B089A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9811633" y="18688542"/>
                    <a:ext cx="3840602" cy="1936750"/>
                  </a:xfrm>
                  <a:prstGeom prst="roundRect">
                    <a:avLst>
                      <a:gd name="adj" fmla="val 2980"/>
                    </a:avLst>
                  </a:prstGeom>
                  <a:solidFill>
                    <a:schemeClr val="bg1"/>
                  </a:solidFill>
                  <a:ln w="38100">
                    <a:solidFill>
                      <a:srgbClr val="002060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4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83B72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60" name="Rechteck: abgerundete Ecken 159">
                  <a:extLst>
                    <a:ext uri="{FF2B5EF4-FFF2-40B4-BE49-F238E27FC236}">
                      <a16:creationId xmlns:a16="http://schemas.microsoft.com/office/drawing/2014/main" id="{95F9D344-9954-4EA1-A34F-DE12FDAFF1C3}"/>
                    </a:ext>
                  </a:extLst>
                </p:cNvPr>
                <p:cNvSpPr/>
                <p:nvPr/>
              </p:nvSpPr>
              <p:spPr>
                <a:xfrm rot="16200000">
                  <a:off x="14422627" y="19203644"/>
                  <a:ext cx="1936800" cy="906496"/>
                </a:xfrm>
                <a:prstGeom prst="roundRect">
                  <a:avLst>
                    <a:gd name="adj" fmla="val 2980"/>
                  </a:avLst>
                </a:prstGeom>
                <a:solidFill>
                  <a:srgbClr val="002060"/>
                </a:solidFill>
                <a:ln w="38100">
                  <a:solidFill>
                    <a:srgbClr val="00206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Textfeld 160">
                  <a:extLst>
                    <a:ext uri="{FF2B5EF4-FFF2-40B4-BE49-F238E27FC236}">
                      <a16:creationId xmlns:a16="http://schemas.microsoft.com/office/drawing/2014/main" id="{7E797DD1-7805-4918-849C-C091A89402D4}"/>
                    </a:ext>
                  </a:extLst>
                </p:cNvPr>
                <p:cNvSpPr txBox="1"/>
                <p:nvPr/>
              </p:nvSpPr>
              <p:spPr>
                <a:xfrm>
                  <a:off x="14985936" y="18862802"/>
                  <a:ext cx="843501" cy="52322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2800">
                      <a:solidFill>
                        <a:schemeClr val="bg1"/>
                      </a:solidFill>
                    </a:rPr>
                    <a:t>TP4</a:t>
                  </a:r>
                </a:p>
              </p:txBody>
            </p:sp>
          </p:grpSp>
        </p:grpSp>
        <p:pic>
          <p:nvPicPr>
            <p:cNvPr id="175" name="Grafik 174">
              <a:extLst>
                <a:ext uri="{FF2B5EF4-FFF2-40B4-BE49-F238E27FC236}">
                  <a16:creationId xmlns:a16="http://schemas.microsoft.com/office/drawing/2014/main" id="{D7E704ED-0997-46EE-BD8E-7B1BC492C8C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hq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35557" y="22248120"/>
              <a:ext cx="937393" cy="907791"/>
            </a:xfrm>
            <a:prstGeom prst="rect">
              <a:avLst/>
            </a:prstGeom>
          </p:spPr>
        </p:pic>
        <p:pic>
          <p:nvPicPr>
            <p:cNvPr id="176" name="Grafik 175">
              <a:extLst>
                <a:ext uri="{FF2B5EF4-FFF2-40B4-BE49-F238E27FC236}">
                  <a16:creationId xmlns:a16="http://schemas.microsoft.com/office/drawing/2014/main" id="{F76EFBB9-EB7D-4983-8F83-B9523EAB62C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hq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949218" y="22260979"/>
              <a:ext cx="937393" cy="907791"/>
            </a:xfrm>
            <a:prstGeom prst="rect">
              <a:avLst/>
            </a:prstGeom>
          </p:spPr>
        </p:pic>
        <p:pic>
          <p:nvPicPr>
            <p:cNvPr id="177" name="Grafik 176">
              <a:extLst>
                <a:ext uri="{FF2B5EF4-FFF2-40B4-BE49-F238E27FC236}">
                  <a16:creationId xmlns:a16="http://schemas.microsoft.com/office/drawing/2014/main" id="{B1B147BB-00B2-4F18-983F-E87D0B2F8B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66650" y="24955552"/>
              <a:ext cx="978039" cy="922416"/>
            </a:xfrm>
            <a:prstGeom prst="rect">
              <a:avLst/>
            </a:prstGeom>
          </p:spPr>
        </p:pic>
        <p:pic>
          <p:nvPicPr>
            <p:cNvPr id="178" name="Grafik 177">
              <a:extLst>
                <a:ext uri="{FF2B5EF4-FFF2-40B4-BE49-F238E27FC236}">
                  <a16:creationId xmlns:a16="http://schemas.microsoft.com/office/drawing/2014/main" id="{3E3CCA8F-1E16-4580-A97E-4EFC6FE92D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969896" y="24955550"/>
              <a:ext cx="978039" cy="9224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642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7" r:id="rId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6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5pPr>
      <a:lvl6pPr marL="1513743" algn="l" rtl="0" fontAlgn="base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6pPr>
      <a:lvl7pPr marL="3027487" algn="l" rtl="0" fontAlgn="base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7pPr>
      <a:lvl8pPr marL="4541230" algn="l" rtl="0" fontAlgn="base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8pPr>
      <a:lvl9pPr marL="6054974" algn="l" rtl="0" fontAlgn="base">
        <a:spcBef>
          <a:spcPct val="0"/>
        </a:spcBef>
        <a:spcAft>
          <a:spcPct val="0"/>
        </a:spcAft>
        <a:defRPr sz="7284">
          <a:solidFill>
            <a:schemeClr val="tx2"/>
          </a:solidFill>
          <a:latin typeface="Arial" charset="0"/>
        </a:defRPr>
      </a:lvl9pPr>
    </p:titleStyle>
    <p:bodyStyle>
      <a:lvl1pPr marL="1135308" indent="-1135308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513743" indent="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None/>
        <a:defRPr sz="5297">
          <a:solidFill>
            <a:schemeClr val="tx1"/>
          </a:solidFill>
          <a:latin typeface="+mn-lt"/>
        </a:defRPr>
      </a:lvl2pPr>
      <a:lvl3pPr marL="3784359" indent="-756872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4635">
          <a:solidFill>
            <a:schemeClr val="tx1"/>
          </a:solidFill>
          <a:latin typeface="+mn-lt"/>
        </a:defRPr>
      </a:lvl3pPr>
      <a:lvl4pPr marL="5298102" indent="-756872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4635">
          <a:solidFill>
            <a:schemeClr val="tx1"/>
          </a:solidFill>
          <a:latin typeface="+mn-lt"/>
        </a:defRPr>
      </a:lvl4pPr>
      <a:lvl5pPr marL="6811846" indent="-756872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4635">
          <a:solidFill>
            <a:schemeClr val="tx1"/>
          </a:solidFill>
          <a:latin typeface="+mn-lt"/>
        </a:defRPr>
      </a:lvl5pPr>
      <a:lvl6pPr marL="8325589" indent="-756872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4635">
          <a:solidFill>
            <a:schemeClr val="tx1"/>
          </a:solidFill>
          <a:latin typeface="+mn-lt"/>
        </a:defRPr>
      </a:lvl6pPr>
      <a:lvl7pPr marL="9839333" indent="-756872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4635">
          <a:solidFill>
            <a:schemeClr val="tx1"/>
          </a:solidFill>
          <a:latin typeface="+mn-lt"/>
        </a:defRPr>
      </a:lvl7pPr>
      <a:lvl8pPr marL="11353076" indent="-756872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4635">
          <a:solidFill>
            <a:schemeClr val="tx1"/>
          </a:solidFill>
          <a:latin typeface="+mn-lt"/>
        </a:defRPr>
      </a:lvl8pPr>
      <a:lvl9pPr marL="12866820" indent="-756872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4635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1pPr>
      <a:lvl2pPr marL="1513743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2pPr>
      <a:lvl3pPr marL="302748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3pPr>
      <a:lvl4pPr marL="454123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05497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756871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082461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059620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109948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685">
          <p15:clr>
            <a:srgbClr val="F26B43"/>
          </p15:clr>
        </p15:guide>
        <p15:guide id="2" pos="1031">
          <p15:clr>
            <a:srgbClr val="F26B43"/>
          </p15:clr>
        </p15:guide>
        <p15:guide id="3" pos="180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7.png"/><Relationship Id="rId18" Type="http://schemas.openxmlformats.org/officeDocument/2006/relationships/image" Target="../media/image62.png"/><Relationship Id="rId26" Type="http://schemas.openxmlformats.org/officeDocument/2006/relationships/image" Target="../media/image18.emf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65.png"/><Relationship Id="rId34" Type="http://schemas.openxmlformats.org/officeDocument/2006/relationships/image" Target="../media/image26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61.png"/><Relationship Id="rId25" Type="http://schemas.openxmlformats.org/officeDocument/2006/relationships/image" Target="../media/image69.png"/><Relationship Id="rId33" Type="http://schemas.openxmlformats.org/officeDocument/2006/relationships/image" Target="../media/image25.png"/><Relationship Id="rId2" Type="http://schemas.openxmlformats.org/officeDocument/2006/relationships/tags" Target="../tags/tag4.xml"/><Relationship Id="rId16" Type="http://schemas.openxmlformats.org/officeDocument/2006/relationships/image" Target="../media/image60.png"/><Relationship Id="rId20" Type="http://schemas.openxmlformats.org/officeDocument/2006/relationships/image" Target="../media/image64.png"/><Relationship Id="rId29" Type="http://schemas.openxmlformats.org/officeDocument/2006/relationships/image" Target="../media/image21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24" Type="http://schemas.openxmlformats.org/officeDocument/2006/relationships/image" Target="../media/image68.png"/><Relationship Id="rId32" Type="http://schemas.openxmlformats.org/officeDocument/2006/relationships/image" Target="../media/image24.png"/><Relationship Id="rId5" Type="http://schemas.openxmlformats.org/officeDocument/2006/relationships/image" Target="../media/image9.emf"/><Relationship Id="rId15" Type="http://schemas.openxmlformats.org/officeDocument/2006/relationships/image" Target="../media/image59.png"/><Relationship Id="rId23" Type="http://schemas.openxmlformats.org/officeDocument/2006/relationships/image" Target="../media/image67.png"/><Relationship Id="rId28" Type="http://schemas.openxmlformats.org/officeDocument/2006/relationships/image" Target="../media/image20.jpeg"/><Relationship Id="rId10" Type="http://schemas.openxmlformats.org/officeDocument/2006/relationships/image" Target="../media/image14.png"/><Relationship Id="rId19" Type="http://schemas.openxmlformats.org/officeDocument/2006/relationships/image" Target="../media/image63.png"/><Relationship Id="rId31" Type="http://schemas.openxmlformats.org/officeDocument/2006/relationships/image" Target="../media/image23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3.png"/><Relationship Id="rId14" Type="http://schemas.openxmlformats.org/officeDocument/2006/relationships/image" Target="../media/image58.png"/><Relationship Id="rId22" Type="http://schemas.openxmlformats.org/officeDocument/2006/relationships/image" Target="../media/image66.png"/><Relationship Id="rId27" Type="http://schemas.openxmlformats.org/officeDocument/2006/relationships/image" Target="../media/image19.jpeg"/><Relationship Id="rId30" Type="http://schemas.openxmlformats.org/officeDocument/2006/relationships/image" Target="../media/image22.png"/><Relationship Id="rId35" Type="http://schemas.openxmlformats.org/officeDocument/2006/relationships/image" Target="../media/image27.png"/><Relationship Id="rId8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323AD5-4A2F-D84C-95F2-5DD9807A4C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1" name="think-cell data - do not delete" hidden="1">
            <a:extLst>
              <a:ext uri="{FF2B5EF4-FFF2-40B4-BE49-F238E27FC236}">
                <a16:creationId xmlns:a16="http://schemas.microsoft.com/office/drawing/2014/main" id="{03789B16-32AE-4371-BAE1-B07A5D59DE3B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6506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26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789B16-32AE-4371-BAE1-B07A5D59DE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3" name="Grafik 182" descr="Ein Bild, das Text, Diagramm, Screenshot, Reihe enthält.&#10;&#10;KI-generierte Inhalte können fehlerhaft sein.">
            <a:extLst>
              <a:ext uri="{FF2B5EF4-FFF2-40B4-BE49-F238E27FC236}">
                <a16:creationId xmlns:a16="http://schemas.microsoft.com/office/drawing/2014/main" id="{E5B8311A-9D51-5047-F5B1-7EA00075B8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11247" y="9986035"/>
            <a:ext cx="4613520" cy="3458310"/>
          </a:xfrm>
          <a:prstGeom prst="rect">
            <a:avLst/>
          </a:prstGeom>
        </p:spPr>
      </p:pic>
      <p:sp>
        <p:nvSpPr>
          <p:cNvPr id="291" name="Textfeld 290">
            <a:extLst>
              <a:ext uri="{FF2B5EF4-FFF2-40B4-BE49-F238E27FC236}">
                <a16:creationId xmlns:a16="http://schemas.microsoft.com/office/drawing/2014/main" id="{75AC7C23-B429-4030-759A-EA839F471D2B}"/>
              </a:ext>
            </a:extLst>
          </p:cNvPr>
          <p:cNvSpPr txBox="1"/>
          <p:nvPr/>
        </p:nvSpPr>
        <p:spPr bwMode="auto">
          <a:xfrm>
            <a:off x="772401" y="36644985"/>
            <a:ext cx="2875016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lvl="0" indent="-571500">
              <a:buClr>
                <a:srgbClr val="83B725"/>
              </a:buClr>
              <a:buFont typeface="Arial" panose="020B0604020202020204" pitchFamily="34" charset="0"/>
              <a:buChar char="•"/>
            </a:pPr>
            <a:r>
              <a:rPr lang="de-DE" sz="4400" dirty="0" err="1"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xplainability</a:t>
            </a:r>
            <a:r>
              <a:rPr lang="de-DE" sz="4400" dirty="0"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zur Unsicherheit mit Entscheidungsunterstützung zur Optimierung der Messung/des Messaufbaus</a:t>
            </a:r>
          </a:p>
          <a:p>
            <a:pPr marL="571500" lvl="0" indent="-571500">
              <a:buClr>
                <a:srgbClr val="83B725"/>
              </a:buClr>
              <a:buFont typeface="Arial" panose="020B0604020202020204" pitchFamily="34" charset="0"/>
              <a:buChar char="•"/>
            </a:pPr>
            <a:r>
              <a:rPr lang="de-DE" sz="4400" dirty="0"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ntwicklung ML-getriebener </a:t>
            </a:r>
            <a:r>
              <a:rPr lang="de-DE" sz="4400" dirty="0" err="1"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Qualitätsmetriken</a:t>
            </a:r>
            <a:r>
              <a:rPr lang="de-DE" sz="4400" dirty="0"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der PIM zur integrierten Qualitätssicherung beim Einsatz </a:t>
            </a:r>
            <a:br>
              <a:rPr lang="de-DE" sz="4400" dirty="0"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</a:br>
            <a:r>
              <a:rPr lang="de-DE" sz="4400" dirty="0"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uf </a:t>
            </a:r>
            <a:r>
              <a:rPr lang="de-DE" sz="4400" dirty="0" smtClean="0"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roduktionsmaschinen</a:t>
            </a:r>
            <a:endParaRPr lang="de-DE" sz="4400" dirty="0"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pic>
        <p:nvPicPr>
          <p:cNvPr id="287" name="Grafik 286" descr="Ein Bild, das Kinderkunst enthält.&#10;&#10;KI-generierte Inhalte können fehlerhaft sein.">
            <a:extLst>
              <a:ext uri="{FF2B5EF4-FFF2-40B4-BE49-F238E27FC236}">
                <a16:creationId xmlns:a16="http://schemas.microsoft.com/office/drawing/2014/main" id="{13189841-542E-2A17-C396-B9B9EBA5204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40" r="8341"/>
          <a:stretch>
            <a:fillRect/>
          </a:stretch>
        </p:blipFill>
        <p:spPr>
          <a:xfrm>
            <a:off x="22289428" y="28649982"/>
            <a:ext cx="6595033" cy="1351162"/>
          </a:xfrm>
          <a:prstGeom prst="rect">
            <a:avLst/>
          </a:prstGeom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8251082C-97CE-547E-B696-4AA55AED587F}"/>
              </a:ext>
            </a:extLst>
          </p:cNvPr>
          <p:cNvSpPr txBox="1"/>
          <p:nvPr/>
        </p:nvSpPr>
        <p:spPr bwMode="auto">
          <a:xfrm>
            <a:off x="20028828" y="25227653"/>
            <a:ext cx="8895031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 algn="just">
              <a:spcAft>
                <a:spcPts val="600"/>
              </a:spcAft>
              <a:buClr>
                <a:srgbClr val="83B725"/>
              </a:buClr>
              <a:buFont typeface="Arial" panose="020B0604020202020204" pitchFamily="34" charset="0"/>
              <a:buChar char="•"/>
              <a:defRPr/>
            </a:pPr>
            <a:r>
              <a:rPr lang="de-DE" sz="3600" dirty="0">
                <a:solidFill>
                  <a:prstClr val="black"/>
                </a:solidFill>
              </a:rPr>
              <a:t>Bewertung der Modellunsicherheit ex-post (Ziel: GUM-konform)</a:t>
            </a:r>
          </a:p>
          <a:p>
            <a:pPr marL="571500" indent="-571500" algn="just">
              <a:spcAft>
                <a:spcPts val="600"/>
              </a:spcAft>
              <a:buClr>
                <a:srgbClr val="83B725"/>
              </a:buClr>
              <a:buFont typeface="Arial" panose="020B0604020202020204" pitchFamily="34" charset="0"/>
              <a:buChar char="•"/>
              <a:defRPr/>
            </a:pPr>
            <a:r>
              <a:rPr lang="de-DE" sz="3600" dirty="0">
                <a:solidFill>
                  <a:prstClr val="black"/>
                </a:solidFill>
              </a:rPr>
              <a:t>Abgleich mit modellintegrierter Unsicherheit </a:t>
            </a:r>
          </a:p>
          <a:p>
            <a:pPr marL="571500" indent="-571500" algn="just">
              <a:spcAft>
                <a:spcPts val="600"/>
              </a:spcAft>
              <a:buClr>
                <a:srgbClr val="83B725"/>
              </a:buClr>
              <a:buFont typeface="Arial" panose="020B0604020202020204" pitchFamily="34" charset="0"/>
              <a:buChar char="•"/>
              <a:defRPr/>
            </a:pPr>
            <a:r>
              <a:rPr lang="de-DE" sz="3600" dirty="0">
                <a:solidFill>
                  <a:prstClr val="black"/>
                </a:solidFill>
              </a:rPr>
              <a:t>Bewertung der Modellzuverlässigkeit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C516D21-45A5-239A-8692-16D4FEE7EF25}"/>
              </a:ext>
            </a:extLst>
          </p:cNvPr>
          <p:cNvSpPr txBox="1"/>
          <p:nvPr/>
        </p:nvSpPr>
        <p:spPr bwMode="auto">
          <a:xfrm>
            <a:off x="1065709" y="25168822"/>
            <a:ext cx="8890893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 algn="just">
              <a:spcAft>
                <a:spcPts val="600"/>
              </a:spcAft>
              <a:buClr>
                <a:srgbClr val="83B725"/>
              </a:buClr>
              <a:buFont typeface="Arial" panose="020B0604020202020204" pitchFamily="34" charset="0"/>
              <a:buChar char="•"/>
              <a:defRPr/>
            </a:pPr>
            <a:r>
              <a:rPr lang="de-DE" sz="3600" dirty="0">
                <a:solidFill>
                  <a:prstClr val="black"/>
                </a:solidFill>
              </a:rPr>
              <a:t>Über alle TP hinweg wird auf Basis vom GUM das Thema Datenqualität betrachtet</a:t>
            </a:r>
          </a:p>
          <a:p>
            <a:pPr marL="571500" indent="-571500" algn="just">
              <a:spcAft>
                <a:spcPts val="600"/>
              </a:spcAft>
              <a:buClr>
                <a:srgbClr val="83B725"/>
              </a:buClr>
              <a:buFont typeface="Arial" panose="020B0604020202020204" pitchFamily="34" charset="0"/>
              <a:buChar char="•"/>
              <a:defRPr/>
            </a:pPr>
            <a:r>
              <a:rPr lang="de-DE" sz="3600" dirty="0">
                <a:solidFill>
                  <a:prstClr val="black"/>
                </a:solidFill>
              </a:rPr>
              <a:t>Einflussfaktoren werden systematisch per </a:t>
            </a:r>
            <a:r>
              <a:rPr lang="de-DE" sz="3600" dirty="0" err="1">
                <a:solidFill>
                  <a:prstClr val="black"/>
                </a:solidFill>
              </a:rPr>
              <a:t>Ishikawa</a:t>
            </a:r>
            <a:r>
              <a:rPr lang="de-DE" sz="3600" dirty="0">
                <a:solidFill>
                  <a:prstClr val="black"/>
                </a:solidFill>
              </a:rPr>
              <a:t>-Diagramm erfasst</a:t>
            </a:r>
          </a:p>
          <a:p>
            <a:pPr marL="571500" indent="-571500" algn="just">
              <a:spcAft>
                <a:spcPts val="600"/>
              </a:spcAft>
              <a:buClr>
                <a:srgbClr val="83B725"/>
              </a:buClr>
              <a:buFont typeface="Arial" panose="020B0604020202020204" pitchFamily="34" charset="0"/>
              <a:buChar char="•"/>
              <a:defRPr/>
            </a:pPr>
            <a:r>
              <a:rPr lang="de-DE" sz="3600" dirty="0">
                <a:solidFill>
                  <a:prstClr val="black"/>
                </a:solidFill>
              </a:rPr>
              <a:t>Experimente im Rahmen von </a:t>
            </a:r>
            <a:r>
              <a:rPr lang="de-DE" sz="3600" dirty="0" err="1">
                <a:solidFill>
                  <a:prstClr val="black"/>
                </a:solidFill>
              </a:rPr>
              <a:t>DoE</a:t>
            </a:r>
            <a:r>
              <a:rPr lang="de-DE" sz="3600" dirty="0">
                <a:solidFill>
                  <a:prstClr val="black"/>
                </a:solidFill>
              </a:rPr>
              <a:t> erlauben die Quantifizierung der Input-Unsicherheit (Typ A)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9D794F8-7EB2-2B07-17C8-8019B15CD8F0}"/>
              </a:ext>
            </a:extLst>
          </p:cNvPr>
          <p:cNvSpPr txBox="1"/>
          <p:nvPr/>
        </p:nvSpPr>
        <p:spPr bwMode="auto">
          <a:xfrm>
            <a:off x="3136109" y="24185436"/>
            <a:ext cx="401289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84B819"/>
              </a:buClr>
              <a:defRPr/>
            </a:pPr>
            <a:r>
              <a:rPr lang="de-DE" sz="4400" b="1">
                <a:solidFill>
                  <a:prstClr val="black"/>
                </a:solidFill>
              </a:rPr>
              <a:t>Datenqualität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AB62E61E-9E43-CB51-BC6B-0A65B426E713}"/>
              </a:ext>
            </a:extLst>
          </p:cNvPr>
          <p:cNvSpPr txBox="1"/>
          <p:nvPr/>
        </p:nvSpPr>
        <p:spPr bwMode="auto">
          <a:xfrm>
            <a:off x="11376143" y="23872618"/>
            <a:ext cx="767723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Clr>
                <a:srgbClr val="84B819"/>
              </a:buClr>
              <a:defRPr/>
            </a:pPr>
            <a:r>
              <a:rPr lang="de-DE" sz="4400" b="1">
                <a:solidFill>
                  <a:prstClr val="black"/>
                </a:solidFill>
              </a:rPr>
              <a:t>Integrierte Unsicherheitsmodellierung 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33F1D5CB-E365-0D6F-5A72-725C2B6B0C8B}"/>
              </a:ext>
            </a:extLst>
          </p:cNvPr>
          <p:cNvSpPr txBox="1"/>
          <p:nvPr/>
        </p:nvSpPr>
        <p:spPr bwMode="auto">
          <a:xfrm>
            <a:off x="10400694" y="25227265"/>
            <a:ext cx="9142536" cy="4601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 algn="just">
              <a:spcAft>
                <a:spcPts val="600"/>
              </a:spcAft>
              <a:buClr>
                <a:srgbClr val="83B725"/>
              </a:buClr>
              <a:buFont typeface="Arial" panose="020B0604020202020204" pitchFamily="34" charset="0"/>
              <a:buChar char="•"/>
              <a:defRPr/>
            </a:pPr>
            <a:r>
              <a:rPr lang="de-DE" sz="3600" dirty="0">
                <a:solidFill>
                  <a:prstClr val="black"/>
                </a:solidFill>
              </a:rPr>
              <a:t>Moderne ML-Modelle bieten Möglichkeiten, Unsicherheitsmaße (epistemische Unsicherheit) direkt zu integrieren </a:t>
            </a:r>
            <a:r>
              <a:rPr lang="de-DE" sz="3600" dirty="0" smtClean="0">
                <a:solidFill>
                  <a:prstClr val="black"/>
                </a:solidFill>
              </a:rPr>
              <a:t>(ex-ante</a:t>
            </a:r>
            <a:r>
              <a:rPr lang="de-DE" sz="3600" dirty="0">
                <a:solidFill>
                  <a:prstClr val="black"/>
                </a:solidFill>
              </a:rPr>
              <a:t>)</a:t>
            </a:r>
          </a:p>
          <a:p>
            <a:pPr marL="571500" indent="-571500" algn="just">
              <a:spcAft>
                <a:spcPts val="600"/>
              </a:spcAft>
              <a:buClr>
                <a:srgbClr val="83B725"/>
              </a:buClr>
              <a:buFont typeface="Arial" panose="020B0604020202020204" pitchFamily="34" charset="0"/>
              <a:buChar char="•"/>
              <a:defRPr/>
            </a:pPr>
            <a:r>
              <a:rPr lang="de-DE" sz="3600" dirty="0">
                <a:solidFill>
                  <a:prstClr val="black"/>
                </a:solidFill>
              </a:rPr>
              <a:t>Im Rahmen der FOR werden Ansätze wie </a:t>
            </a:r>
            <a:r>
              <a:rPr lang="de-DE" sz="3600" dirty="0" err="1">
                <a:solidFill>
                  <a:prstClr val="black"/>
                </a:solidFill>
              </a:rPr>
              <a:t>Bayesian</a:t>
            </a:r>
            <a:r>
              <a:rPr lang="de-DE" sz="3600" dirty="0">
                <a:solidFill>
                  <a:prstClr val="black"/>
                </a:solidFill>
              </a:rPr>
              <a:t> </a:t>
            </a:r>
            <a:r>
              <a:rPr lang="de-DE" sz="3600" dirty="0" err="1">
                <a:solidFill>
                  <a:prstClr val="black"/>
                </a:solidFill>
              </a:rPr>
              <a:t>Neural</a:t>
            </a:r>
            <a:r>
              <a:rPr lang="de-DE" sz="3600" dirty="0">
                <a:solidFill>
                  <a:prstClr val="black"/>
                </a:solidFill>
              </a:rPr>
              <a:t> Networks und </a:t>
            </a:r>
            <a:r>
              <a:rPr lang="de-DE" sz="3600" dirty="0" err="1">
                <a:solidFill>
                  <a:prstClr val="black"/>
                </a:solidFill>
              </a:rPr>
              <a:t>Gaussian</a:t>
            </a:r>
            <a:r>
              <a:rPr lang="de-DE" sz="3600" dirty="0">
                <a:solidFill>
                  <a:prstClr val="black"/>
                </a:solidFill>
              </a:rPr>
              <a:t> </a:t>
            </a:r>
            <a:r>
              <a:rPr lang="de-DE" sz="3600" dirty="0" err="1">
                <a:solidFill>
                  <a:prstClr val="black"/>
                </a:solidFill>
              </a:rPr>
              <a:t>Process</a:t>
            </a:r>
            <a:r>
              <a:rPr lang="de-DE" sz="3600" dirty="0">
                <a:solidFill>
                  <a:prstClr val="black"/>
                </a:solidFill>
              </a:rPr>
              <a:t> Regression hierfür betrachtet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BB2F0CFB-11B7-1B61-A4C9-F0028D797692}"/>
              </a:ext>
            </a:extLst>
          </p:cNvPr>
          <p:cNvSpPr txBox="1"/>
          <p:nvPr/>
        </p:nvSpPr>
        <p:spPr bwMode="auto">
          <a:xfrm>
            <a:off x="21207235" y="23872617"/>
            <a:ext cx="767723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Clr>
                <a:srgbClr val="84B819"/>
              </a:buClr>
              <a:defRPr/>
            </a:pPr>
            <a:r>
              <a:rPr lang="de-DE" sz="4400" b="1">
                <a:solidFill>
                  <a:prstClr val="black"/>
                </a:solidFill>
              </a:rPr>
              <a:t>Quantifizierung von Modellunsicherheiten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B929C4BB-696A-03EB-0369-0B66A8B7B4E8}"/>
              </a:ext>
            </a:extLst>
          </p:cNvPr>
          <p:cNvSpPr txBox="1"/>
          <p:nvPr/>
        </p:nvSpPr>
        <p:spPr bwMode="auto">
          <a:xfrm>
            <a:off x="11344385" y="29997589"/>
            <a:ext cx="7677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Clr>
                <a:srgbClr val="84B819"/>
              </a:buClr>
              <a:defRPr/>
            </a:pPr>
            <a:r>
              <a:rPr lang="de-DE" sz="3600" b="1">
                <a:solidFill>
                  <a:prstClr val="black"/>
                </a:solidFill>
              </a:rPr>
              <a:t>Beispielhafte Modelltypen</a:t>
            </a: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5B910645-AE71-CA19-3014-2F5E1A481D52}"/>
              </a:ext>
            </a:extLst>
          </p:cNvPr>
          <p:cNvCxnSpPr>
            <a:cxnSpLocks/>
          </p:cNvCxnSpPr>
          <p:nvPr/>
        </p:nvCxnSpPr>
        <p:spPr>
          <a:xfrm>
            <a:off x="10230624" y="24030416"/>
            <a:ext cx="0" cy="10644595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3C3C70C0-5A23-EC04-567B-8522286CEBEC}"/>
              </a:ext>
            </a:extLst>
          </p:cNvPr>
          <p:cNvCxnSpPr>
            <a:cxnSpLocks/>
          </p:cNvCxnSpPr>
          <p:nvPr/>
        </p:nvCxnSpPr>
        <p:spPr>
          <a:xfrm>
            <a:off x="10230624" y="32248209"/>
            <a:ext cx="0" cy="2046016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ED996977-4795-5DE0-7F45-CD9FEB0DCB87}"/>
              </a:ext>
            </a:extLst>
          </p:cNvPr>
          <p:cNvCxnSpPr>
            <a:cxnSpLocks/>
          </p:cNvCxnSpPr>
          <p:nvPr/>
        </p:nvCxnSpPr>
        <p:spPr>
          <a:xfrm>
            <a:off x="19787693" y="24030417"/>
            <a:ext cx="0" cy="10644597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7616E420-601A-2CC1-82BF-B7F9E5F4814A}"/>
              </a:ext>
            </a:extLst>
          </p:cNvPr>
          <p:cNvCxnSpPr>
            <a:cxnSpLocks/>
          </p:cNvCxnSpPr>
          <p:nvPr/>
        </p:nvCxnSpPr>
        <p:spPr>
          <a:xfrm flipH="1">
            <a:off x="19787693" y="32248211"/>
            <a:ext cx="0" cy="2046015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>
            <a:extLst>
              <a:ext uri="{FF2B5EF4-FFF2-40B4-BE49-F238E27FC236}">
                <a16:creationId xmlns:a16="http://schemas.microsoft.com/office/drawing/2014/main" id="{CBBB8AF9-9782-64BF-37E0-9B83D7D05E5E}"/>
              </a:ext>
            </a:extLst>
          </p:cNvPr>
          <p:cNvSpPr txBox="1"/>
          <p:nvPr/>
        </p:nvSpPr>
        <p:spPr>
          <a:xfrm>
            <a:off x="20819711" y="28726946"/>
            <a:ext cx="1080000" cy="1081980"/>
          </a:xfrm>
          <a:prstGeom prst="ellipse">
            <a:avLst/>
          </a:prstGeom>
          <a:solidFill>
            <a:srgbClr val="E0F2C0"/>
          </a:solidFill>
        </p:spPr>
        <p:txBody>
          <a:bodyPr wrap="none" rtlCol="0">
            <a:noAutofit/>
          </a:bodyPr>
          <a:lstStyle/>
          <a:p>
            <a:pPr algn="ctr"/>
            <a:r>
              <a:rPr lang="de-DE" sz="4400">
                <a:solidFill>
                  <a:srgbClr val="358342"/>
                </a:solidFill>
              </a:rPr>
              <a:t>1.a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F4FAC9B2-310D-CCF3-9AC8-66BC8886A723}"/>
              </a:ext>
            </a:extLst>
          </p:cNvPr>
          <p:cNvSpPr txBox="1"/>
          <p:nvPr/>
        </p:nvSpPr>
        <p:spPr>
          <a:xfrm>
            <a:off x="20819711" y="30596611"/>
            <a:ext cx="1079999" cy="1081980"/>
          </a:xfrm>
          <a:prstGeom prst="ellipse">
            <a:avLst/>
          </a:prstGeom>
          <a:solidFill>
            <a:srgbClr val="E0F2C0"/>
          </a:solidFill>
        </p:spPr>
        <p:txBody>
          <a:bodyPr wrap="none" rtlCol="0">
            <a:noAutofit/>
          </a:bodyPr>
          <a:lstStyle>
            <a:defPPr>
              <a:defRPr lang="de-DE"/>
            </a:defPPr>
            <a:lvl1pPr algn="ctr">
              <a:defRPr sz="4400">
                <a:solidFill>
                  <a:schemeClr val="accent6"/>
                </a:solidFill>
              </a:defRPr>
            </a:lvl1pPr>
          </a:lstStyle>
          <a:p>
            <a:r>
              <a:rPr lang="de-DE">
                <a:solidFill>
                  <a:srgbClr val="358342"/>
                </a:solidFill>
              </a:rPr>
              <a:t>1.b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2581C2FA-63DA-45C5-324C-F99670E14549}"/>
              </a:ext>
            </a:extLst>
          </p:cNvPr>
          <p:cNvSpPr txBox="1"/>
          <p:nvPr/>
        </p:nvSpPr>
        <p:spPr>
          <a:xfrm>
            <a:off x="20819710" y="32581811"/>
            <a:ext cx="1079999" cy="1081980"/>
          </a:xfrm>
          <a:prstGeom prst="ellipse">
            <a:avLst/>
          </a:prstGeom>
          <a:solidFill>
            <a:srgbClr val="E0F2C0"/>
          </a:solidFill>
        </p:spPr>
        <p:txBody>
          <a:bodyPr wrap="none" rtlCol="0">
            <a:noAutofit/>
          </a:bodyPr>
          <a:lstStyle>
            <a:defPPr>
              <a:defRPr lang="de-DE"/>
            </a:defPPr>
            <a:lvl1pPr algn="ctr">
              <a:defRPr sz="4400">
                <a:solidFill>
                  <a:schemeClr val="accent6"/>
                </a:solidFill>
              </a:defRPr>
            </a:lvl1pPr>
          </a:lstStyle>
          <a:p>
            <a:r>
              <a:rPr lang="de-DE">
                <a:solidFill>
                  <a:srgbClr val="358342"/>
                </a:solidFill>
              </a:rPr>
              <a:t>2</a:t>
            </a:r>
          </a:p>
        </p:txBody>
      </p:sp>
      <p:pic>
        <p:nvPicPr>
          <p:cNvPr id="85" name="Grafik 84">
            <a:extLst>
              <a:ext uri="{FF2B5EF4-FFF2-40B4-BE49-F238E27FC236}">
                <a16:creationId xmlns:a16="http://schemas.microsoft.com/office/drawing/2014/main" id="{94B1B3DD-64F0-AF42-077B-D2125CFC093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14599" y="82061603"/>
            <a:ext cx="13321306" cy="6109731"/>
          </a:xfrm>
          <a:prstGeom prst="rect">
            <a:avLst/>
          </a:prstGeom>
        </p:spPr>
      </p:pic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BDB132AB-85E7-5583-DEDA-B97D67898FDF}"/>
              </a:ext>
            </a:extLst>
          </p:cNvPr>
          <p:cNvGrpSpPr>
            <a:grpSpLocks/>
          </p:cNvGrpSpPr>
          <p:nvPr/>
        </p:nvGrpSpPr>
        <p:grpSpPr>
          <a:xfrm>
            <a:off x="-7533582" y="72796888"/>
            <a:ext cx="3180740" cy="2368329"/>
            <a:chOff x="1884854" y="24347886"/>
            <a:chExt cx="8881248" cy="6034755"/>
          </a:xfrm>
        </p:grpSpPr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027192E6-90CE-92D2-D1D0-326CCF0AC9B6}"/>
                </a:ext>
              </a:extLst>
            </p:cNvPr>
            <p:cNvGrpSpPr/>
            <p:nvPr/>
          </p:nvGrpSpPr>
          <p:grpSpPr>
            <a:xfrm>
              <a:off x="1884854" y="24347886"/>
              <a:ext cx="8583926" cy="5220641"/>
              <a:chOff x="1884854" y="24347886"/>
              <a:chExt cx="8583926" cy="5220641"/>
            </a:xfrm>
          </p:grpSpPr>
          <p:cxnSp>
            <p:nvCxnSpPr>
              <p:cNvPr id="100" name="Gerade Verbindung 99">
                <a:extLst>
                  <a:ext uri="{FF2B5EF4-FFF2-40B4-BE49-F238E27FC236}">
                    <a16:creationId xmlns:a16="http://schemas.microsoft.com/office/drawing/2014/main" id="{3C8F005C-F4CE-7DE0-468C-322C9F40969A}"/>
                  </a:ext>
                </a:extLst>
              </p:cNvPr>
              <p:cNvCxnSpPr/>
              <p:nvPr/>
            </p:nvCxnSpPr>
            <p:spPr>
              <a:xfrm>
                <a:off x="3777399" y="25681193"/>
                <a:ext cx="3785090" cy="0"/>
              </a:xfrm>
              <a:prstGeom prst="line">
                <a:avLst/>
              </a:prstGeom>
              <a:ln w="19202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 Verbindung 101">
                <a:extLst>
                  <a:ext uri="{FF2B5EF4-FFF2-40B4-BE49-F238E27FC236}">
                    <a16:creationId xmlns:a16="http://schemas.microsoft.com/office/drawing/2014/main" id="{154863C8-6D3D-23E2-9B9A-3E75B40461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84854" y="27554816"/>
                <a:ext cx="3785090" cy="0"/>
              </a:xfrm>
              <a:prstGeom prst="line">
                <a:avLst/>
              </a:prstGeom>
              <a:ln w="19202">
                <a:solidFill>
                  <a:schemeClr val="tx1"/>
                </a:solidFill>
              </a:ln>
              <a:scene3d>
                <a:camera prst="orthographicFront">
                  <a:rot lat="0" lon="0" rev="5400000"/>
                </a:camera>
                <a:lightRig rig="threePt" dir="t"/>
              </a:scene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>
                <a:extLst>
                  <a:ext uri="{FF2B5EF4-FFF2-40B4-BE49-F238E27FC236}">
                    <a16:creationId xmlns:a16="http://schemas.microsoft.com/office/drawing/2014/main" id="{CAA2BB9B-C798-AD3A-74AD-7A23289E9375}"/>
                  </a:ext>
                </a:extLst>
              </p:cNvPr>
              <p:cNvCxnSpPr/>
              <p:nvPr/>
            </p:nvCxnSpPr>
            <p:spPr>
              <a:xfrm>
                <a:off x="3777399" y="29437405"/>
                <a:ext cx="3785090" cy="0"/>
              </a:xfrm>
              <a:prstGeom prst="line">
                <a:avLst/>
              </a:prstGeom>
              <a:ln w="19202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 Verbindung 103">
                <a:extLst>
                  <a:ext uri="{FF2B5EF4-FFF2-40B4-BE49-F238E27FC236}">
                    <a16:creationId xmlns:a16="http://schemas.microsoft.com/office/drawing/2014/main" id="{3ADB1D90-7705-6202-6942-DF0CA1AF43BB}"/>
                  </a:ext>
                </a:extLst>
              </p:cNvPr>
              <p:cNvCxnSpPr/>
              <p:nvPr/>
            </p:nvCxnSpPr>
            <p:spPr>
              <a:xfrm>
                <a:off x="4839484" y="24435099"/>
                <a:ext cx="3785090" cy="0"/>
              </a:xfrm>
              <a:prstGeom prst="line">
                <a:avLst/>
              </a:prstGeom>
              <a:ln w="19202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 Verbindung 104">
                <a:extLst>
                  <a:ext uri="{FF2B5EF4-FFF2-40B4-BE49-F238E27FC236}">
                    <a16:creationId xmlns:a16="http://schemas.microsoft.com/office/drawing/2014/main" id="{BEA6D7C8-1F90-4BF5-68D6-6EB7634C3C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46939" y="26308722"/>
                <a:ext cx="3785090" cy="0"/>
              </a:xfrm>
              <a:prstGeom prst="line">
                <a:avLst/>
              </a:prstGeom>
              <a:ln w="19202">
                <a:solidFill>
                  <a:schemeClr val="tx1"/>
                </a:solidFill>
              </a:ln>
              <a:scene3d>
                <a:camera prst="orthographicFront">
                  <a:rot lat="0" lon="0" rev="5400000"/>
                </a:camera>
                <a:lightRig rig="threePt" dir="t"/>
              </a:scene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Gerade Verbindung 105">
                <a:extLst>
                  <a:ext uri="{FF2B5EF4-FFF2-40B4-BE49-F238E27FC236}">
                    <a16:creationId xmlns:a16="http://schemas.microsoft.com/office/drawing/2014/main" id="{B84381A8-8C88-6708-8AA9-5E330D6D63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83690" y="26308722"/>
                <a:ext cx="3785090" cy="0"/>
              </a:xfrm>
              <a:prstGeom prst="line">
                <a:avLst/>
              </a:prstGeom>
              <a:ln w="19202">
                <a:solidFill>
                  <a:schemeClr val="tx1"/>
                </a:solidFill>
              </a:ln>
              <a:scene3d>
                <a:camera prst="orthographicFront">
                  <a:rot lat="0" lon="0" rev="5400000"/>
                </a:camera>
                <a:lightRig rig="threePt" dir="t"/>
              </a:scene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 Verbindung 106">
                <a:extLst>
                  <a:ext uri="{FF2B5EF4-FFF2-40B4-BE49-F238E27FC236}">
                    <a16:creationId xmlns:a16="http://schemas.microsoft.com/office/drawing/2014/main" id="{EECBB46C-8EDC-C497-E717-031BAA571482}"/>
                  </a:ext>
                </a:extLst>
              </p:cNvPr>
              <p:cNvCxnSpPr/>
              <p:nvPr/>
            </p:nvCxnSpPr>
            <p:spPr>
              <a:xfrm>
                <a:off x="4839484" y="28191311"/>
                <a:ext cx="3785090" cy="0"/>
              </a:xfrm>
              <a:prstGeom prst="line">
                <a:avLst/>
              </a:prstGeom>
              <a:ln w="19202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 Verbindung 107">
                <a:extLst>
                  <a:ext uri="{FF2B5EF4-FFF2-40B4-BE49-F238E27FC236}">
                    <a16:creationId xmlns:a16="http://schemas.microsoft.com/office/drawing/2014/main" id="{52A6CAB9-2FC9-A179-B76E-D2FEA7C4550A}"/>
                  </a:ext>
                </a:extLst>
              </p:cNvPr>
              <p:cNvCxnSpPr/>
              <p:nvPr/>
            </p:nvCxnSpPr>
            <p:spPr>
              <a:xfrm flipV="1">
                <a:off x="3777399" y="24435099"/>
                <a:ext cx="1062085" cy="1246094"/>
              </a:xfrm>
              <a:prstGeom prst="line">
                <a:avLst/>
              </a:prstGeom>
              <a:ln w="2347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>
                <a:extLst>
                  <a:ext uri="{FF2B5EF4-FFF2-40B4-BE49-F238E27FC236}">
                    <a16:creationId xmlns:a16="http://schemas.microsoft.com/office/drawing/2014/main" id="{3329BE88-7798-45CF-FC30-53C989E07550}"/>
                  </a:ext>
                </a:extLst>
              </p:cNvPr>
              <p:cNvCxnSpPr/>
              <p:nvPr/>
            </p:nvCxnSpPr>
            <p:spPr>
              <a:xfrm flipV="1">
                <a:off x="7514150" y="24426134"/>
                <a:ext cx="1062085" cy="1246094"/>
              </a:xfrm>
              <a:prstGeom prst="line">
                <a:avLst/>
              </a:prstGeom>
              <a:ln w="2347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>
                <a:extLst>
                  <a:ext uri="{FF2B5EF4-FFF2-40B4-BE49-F238E27FC236}">
                    <a16:creationId xmlns:a16="http://schemas.microsoft.com/office/drawing/2014/main" id="{78BC10F6-271F-6ED5-8392-3E8A9DB43FBC}"/>
                  </a:ext>
                </a:extLst>
              </p:cNvPr>
              <p:cNvCxnSpPr/>
              <p:nvPr/>
            </p:nvCxnSpPr>
            <p:spPr>
              <a:xfrm flipV="1">
                <a:off x="7472735" y="28204759"/>
                <a:ext cx="1062085" cy="1246094"/>
              </a:xfrm>
              <a:prstGeom prst="line">
                <a:avLst/>
              </a:prstGeom>
              <a:ln w="2347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 Verbindung 110">
                <a:extLst>
                  <a:ext uri="{FF2B5EF4-FFF2-40B4-BE49-F238E27FC236}">
                    <a16:creationId xmlns:a16="http://schemas.microsoft.com/office/drawing/2014/main" id="{2417E0E0-EF85-AE5D-45B3-2D3D35E88CDF}"/>
                  </a:ext>
                </a:extLst>
              </p:cNvPr>
              <p:cNvCxnSpPr/>
              <p:nvPr/>
            </p:nvCxnSpPr>
            <p:spPr>
              <a:xfrm flipV="1">
                <a:off x="3777399" y="28191311"/>
                <a:ext cx="1062085" cy="1246094"/>
              </a:xfrm>
              <a:prstGeom prst="line">
                <a:avLst/>
              </a:prstGeom>
              <a:ln w="2347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1CA491C0-F433-E14A-3E20-24F4BF5081D8}"/>
                  </a:ext>
                </a:extLst>
              </p:cNvPr>
              <p:cNvSpPr/>
              <p:nvPr/>
            </p:nvSpPr>
            <p:spPr>
              <a:xfrm>
                <a:off x="6048474" y="26866665"/>
                <a:ext cx="245725" cy="230870"/>
              </a:xfrm>
              <a:prstGeom prst="ellipse">
                <a:avLst/>
              </a:prstGeom>
              <a:solidFill>
                <a:srgbClr val="01A9D1"/>
              </a:solidFill>
              <a:ln w="8534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0724" tIns="15362" rIns="30724" bIns="15362"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A0FF6662-D427-E678-3B97-57399A96626B}"/>
                  </a:ext>
                </a:extLst>
              </p:cNvPr>
              <p:cNvSpPr/>
              <p:nvPr/>
            </p:nvSpPr>
            <p:spPr>
              <a:xfrm>
                <a:off x="3648986" y="25587513"/>
                <a:ext cx="195943" cy="222816"/>
              </a:xfrm>
              <a:prstGeom prst="ellipse">
                <a:avLst/>
              </a:prstGeom>
              <a:solidFill>
                <a:srgbClr val="92D050"/>
              </a:solidFill>
              <a:ln w="8534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0724" tIns="15362" rIns="30724" bIns="15362"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DCC747C8-1179-26F9-B7FB-107F4E4F5624}"/>
                  </a:ext>
                </a:extLst>
              </p:cNvPr>
              <p:cNvSpPr/>
              <p:nvPr/>
            </p:nvSpPr>
            <p:spPr>
              <a:xfrm>
                <a:off x="8456107" y="24347886"/>
                <a:ext cx="195943" cy="222816"/>
              </a:xfrm>
              <a:prstGeom prst="ellipse">
                <a:avLst/>
              </a:prstGeom>
              <a:solidFill>
                <a:srgbClr val="92D050"/>
              </a:solidFill>
              <a:ln w="8534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0724" tIns="15362" rIns="30724" bIns="15362"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8708B39E-0120-8D2D-E200-D1EDD6C2887C}"/>
                  </a:ext>
                </a:extLst>
              </p:cNvPr>
              <p:cNvSpPr/>
              <p:nvPr/>
            </p:nvSpPr>
            <p:spPr>
              <a:xfrm>
                <a:off x="4765244" y="24347886"/>
                <a:ext cx="195943" cy="222816"/>
              </a:xfrm>
              <a:prstGeom prst="ellipse">
                <a:avLst/>
              </a:prstGeom>
              <a:solidFill>
                <a:srgbClr val="92D050"/>
              </a:solidFill>
              <a:ln w="8534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0724" tIns="15362" rIns="30724" bIns="15362"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3DB09DCE-3420-9319-CC6E-A39E2A5B5918}"/>
                  </a:ext>
                </a:extLst>
              </p:cNvPr>
              <p:cNvSpPr/>
              <p:nvPr/>
            </p:nvSpPr>
            <p:spPr>
              <a:xfrm>
                <a:off x="3648986" y="29345711"/>
                <a:ext cx="195943" cy="222816"/>
              </a:xfrm>
              <a:prstGeom prst="ellipse">
                <a:avLst/>
              </a:prstGeom>
              <a:solidFill>
                <a:srgbClr val="92D050"/>
              </a:solidFill>
              <a:ln w="8534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0724" tIns="15362" rIns="30724" bIns="15362"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6464DEB6-CDDD-B5B9-17B1-1A553ED9C745}"/>
                  </a:ext>
                </a:extLst>
              </p:cNvPr>
              <p:cNvSpPr/>
              <p:nvPr/>
            </p:nvSpPr>
            <p:spPr>
              <a:xfrm>
                <a:off x="4798619" y="28117545"/>
                <a:ext cx="153126" cy="174427"/>
              </a:xfrm>
              <a:prstGeom prst="ellipse">
                <a:avLst/>
              </a:prstGeom>
              <a:solidFill>
                <a:srgbClr val="92D050"/>
              </a:solidFill>
              <a:ln w="8534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0724" tIns="15362" rIns="30724" bIns="15362"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E8FD1290-36EB-38F7-0388-FB67A6C4D3AA}"/>
                  </a:ext>
                </a:extLst>
              </p:cNvPr>
              <p:cNvSpPr/>
              <p:nvPr/>
            </p:nvSpPr>
            <p:spPr>
              <a:xfrm>
                <a:off x="8438073" y="28117546"/>
                <a:ext cx="195943" cy="222816"/>
              </a:xfrm>
              <a:prstGeom prst="ellipse">
                <a:avLst/>
              </a:prstGeom>
              <a:solidFill>
                <a:srgbClr val="92D050"/>
              </a:solidFill>
              <a:ln w="8534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0724" tIns="15362" rIns="30724" bIns="15362"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120" name="Gerade Verbindung 119">
                <a:extLst>
                  <a:ext uri="{FF2B5EF4-FFF2-40B4-BE49-F238E27FC236}">
                    <a16:creationId xmlns:a16="http://schemas.microsoft.com/office/drawing/2014/main" id="{2FB53335-EF96-AF98-A9FF-0B14479FC92C}"/>
                  </a:ext>
                </a:extLst>
              </p:cNvPr>
              <p:cNvCxnSpPr>
                <a:cxnSpLocks/>
                <a:stCxn id="138" idx="3"/>
                <a:endCxn id="112" idx="7"/>
              </p:cNvCxnSpPr>
              <p:nvPr/>
            </p:nvCxnSpPr>
            <p:spPr>
              <a:xfrm flipH="1">
                <a:off x="6258213" y="25786106"/>
                <a:ext cx="1184884" cy="1114369"/>
              </a:xfrm>
              <a:prstGeom prst="line">
                <a:avLst/>
              </a:prstGeom>
              <a:ln w="32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122">
                <a:extLst>
                  <a:ext uri="{FF2B5EF4-FFF2-40B4-BE49-F238E27FC236}">
                    <a16:creationId xmlns:a16="http://schemas.microsoft.com/office/drawing/2014/main" id="{82C86C5E-F5BA-0574-F173-6A157D352948}"/>
                  </a:ext>
                </a:extLst>
              </p:cNvPr>
              <p:cNvCxnSpPr>
                <a:cxnSpLocks/>
                <a:stCxn id="119" idx="1"/>
                <a:endCxn id="112" idx="5"/>
              </p:cNvCxnSpPr>
              <p:nvPr/>
            </p:nvCxnSpPr>
            <p:spPr>
              <a:xfrm flipH="1" flipV="1">
                <a:off x="6258213" y="27063725"/>
                <a:ext cx="2208555" cy="1086452"/>
              </a:xfrm>
              <a:prstGeom prst="line">
                <a:avLst/>
              </a:prstGeom>
              <a:ln w="32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123">
                <a:extLst>
                  <a:ext uri="{FF2B5EF4-FFF2-40B4-BE49-F238E27FC236}">
                    <a16:creationId xmlns:a16="http://schemas.microsoft.com/office/drawing/2014/main" id="{52C69E74-0823-97E8-70E2-DE06CFCC204E}"/>
                  </a:ext>
                </a:extLst>
              </p:cNvPr>
              <p:cNvCxnSpPr>
                <a:cxnSpLocks/>
                <a:stCxn id="112" idx="3"/>
                <a:endCxn id="118" idx="7"/>
              </p:cNvCxnSpPr>
              <p:nvPr/>
            </p:nvCxnSpPr>
            <p:spPr>
              <a:xfrm flipH="1">
                <a:off x="4929320" y="27063725"/>
                <a:ext cx="1155140" cy="1079364"/>
              </a:xfrm>
              <a:prstGeom prst="line">
                <a:avLst/>
              </a:prstGeom>
              <a:ln w="32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124">
                <a:extLst>
                  <a:ext uri="{FF2B5EF4-FFF2-40B4-BE49-F238E27FC236}">
                    <a16:creationId xmlns:a16="http://schemas.microsoft.com/office/drawing/2014/main" id="{69EA5D77-1C7B-0804-8445-95728345E6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21605" y="27554816"/>
                <a:ext cx="3785090" cy="0"/>
              </a:xfrm>
              <a:prstGeom prst="line">
                <a:avLst/>
              </a:prstGeom>
              <a:ln w="19202">
                <a:solidFill>
                  <a:schemeClr val="tx1"/>
                </a:solidFill>
              </a:ln>
              <a:scene3d>
                <a:camera prst="orthographicFront">
                  <a:rot lat="0" lon="0" rev="5400000"/>
                </a:camera>
                <a:lightRig rig="threePt" dir="t"/>
              </a:scene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>
                <a:extLst>
                  <a:ext uri="{FF2B5EF4-FFF2-40B4-BE49-F238E27FC236}">
                    <a16:creationId xmlns:a16="http://schemas.microsoft.com/office/drawing/2014/main" id="{A3EEF315-BB87-6720-51A0-0874E7903F05}"/>
                  </a:ext>
                </a:extLst>
              </p:cNvPr>
              <p:cNvCxnSpPr>
                <a:cxnSpLocks/>
                <a:stCxn id="112" idx="3"/>
                <a:endCxn id="117" idx="7"/>
              </p:cNvCxnSpPr>
              <p:nvPr/>
            </p:nvCxnSpPr>
            <p:spPr>
              <a:xfrm flipH="1">
                <a:off x="3816234" y="27063725"/>
                <a:ext cx="2268226" cy="2314617"/>
              </a:xfrm>
              <a:prstGeom prst="line">
                <a:avLst/>
              </a:prstGeom>
              <a:ln w="32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130">
                <a:extLst>
                  <a:ext uri="{FF2B5EF4-FFF2-40B4-BE49-F238E27FC236}">
                    <a16:creationId xmlns:a16="http://schemas.microsoft.com/office/drawing/2014/main" id="{EAF0AA6D-0F03-2541-F033-B49AD25F41F2}"/>
                  </a:ext>
                </a:extLst>
              </p:cNvPr>
              <p:cNvCxnSpPr>
                <a:cxnSpLocks/>
                <a:stCxn id="112" idx="4"/>
                <a:endCxn id="134" idx="1"/>
              </p:cNvCxnSpPr>
              <p:nvPr/>
            </p:nvCxnSpPr>
            <p:spPr>
              <a:xfrm>
                <a:off x="6171337" y="27097535"/>
                <a:ext cx="1234687" cy="2280807"/>
              </a:xfrm>
              <a:prstGeom prst="line">
                <a:avLst/>
              </a:prstGeom>
              <a:ln w="32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1B9D2D76-D533-9107-BD2C-4142AF85185F}"/>
                  </a:ext>
                </a:extLst>
              </p:cNvPr>
              <p:cNvSpPr/>
              <p:nvPr/>
            </p:nvSpPr>
            <p:spPr>
              <a:xfrm>
                <a:off x="7377329" y="29345711"/>
                <a:ext cx="195943" cy="222816"/>
              </a:xfrm>
              <a:prstGeom prst="ellipse">
                <a:avLst/>
              </a:prstGeom>
              <a:solidFill>
                <a:srgbClr val="92D050"/>
              </a:solidFill>
              <a:ln w="8534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0724" tIns="15362" rIns="30724" bIns="15362"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135" name="Gerade Verbindung 134">
                <a:extLst>
                  <a:ext uri="{FF2B5EF4-FFF2-40B4-BE49-F238E27FC236}">
                    <a16:creationId xmlns:a16="http://schemas.microsoft.com/office/drawing/2014/main" id="{470AEB5C-A711-76EF-4BAF-F24E22B9ACCB}"/>
                  </a:ext>
                </a:extLst>
              </p:cNvPr>
              <p:cNvCxnSpPr>
                <a:cxnSpLocks/>
                <a:stCxn id="112" idx="1"/>
                <a:endCxn id="115" idx="4"/>
              </p:cNvCxnSpPr>
              <p:nvPr/>
            </p:nvCxnSpPr>
            <p:spPr>
              <a:xfrm flipH="1" flipV="1">
                <a:off x="4863216" y="24570702"/>
                <a:ext cx="1221244" cy="2329773"/>
              </a:xfrm>
              <a:prstGeom prst="line">
                <a:avLst/>
              </a:prstGeom>
              <a:ln w="32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135">
                <a:extLst>
                  <a:ext uri="{FF2B5EF4-FFF2-40B4-BE49-F238E27FC236}">
                    <a16:creationId xmlns:a16="http://schemas.microsoft.com/office/drawing/2014/main" id="{191B7D4E-CDE7-2907-1FDE-553BEA01271C}"/>
                  </a:ext>
                </a:extLst>
              </p:cNvPr>
              <p:cNvCxnSpPr>
                <a:cxnSpLocks/>
                <a:stCxn id="112" idx="2"/>
                <a:endCxn id="113" idx="5"/>
              </p:cNvCxnSpPr>
              <p:nvPr/>
            </p:nvCxnSpPr>
            <p:spPr>
              <a:xfrm flipH="1" flipV="1">
                <a:off x="3816234" y="25777698"/>
                <a:ext cx="2232240" cy="1204402"/>
              </a:xfrm>
              <a:prstGeom prst="line">
                <a:avLst/>
              </a:prstGeom>
              <a:ln w="32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B1AD6CE6-5AF2-804F-C07F-494AA54B15A1}"/>
                  </a:ext>
                </a:extLst>
              </p:cNvPr>
              <p:cNvSpPr/>
              <p:nvPr/>
            </p:nvSpPr>
            <p:spPr>
              <a:xfrm>
                <a:off x="7414402" y="25595921"/>
                <a:ext cx="195943" cy="222816"/>
              </a:xfrm>
              <a:prstGeom prst="ellipse">
                <a:avLst/>
              </a:prstGeom>
              <a:solidFill>
                <a:srgbClr val="92D050"/>
              </a:solidFill>
              <a:ln w="8534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0724" tIns="15362" rIns="30724" bIns="15362" rtlCol="0" anchor="ctr"/>
              <a:lstStyle/>
              <a:p>
                <a:pPr algn="ctr"/>
                <a:endParaRPr lang="de-DE"/>
              </a:p>
            </p:txBody>
          </p:sp>
        </p:grpSp>
        <p:cxnSp>
          <p:nvCxnSpPr>
            <p:cNvPr id="88" name="Gerade Verbindung mit Pfeil 87">
              <a:extLst>
                <a:ext uri="{FF2B5EF4-FFF2-40B4-BE49-F238E27FC236}">
                  <a16:creationId xmlns:a16="http://schemas.microsoft.com/office/drawing/2014/main" id="{741A95E9-2226-BDF7-365A-DB77E491E7DC}"/>
                </a:ext>
              </a:extLst>
            </p:cNvPr>
            <p:cNvCxnSpPr/>
            <p:nvPr/>
          </p:nvCxnSpPr>
          <p:spPr>
            <a:xfrm flipV="1">
              <a:off x="3303395" y="25818737"/>
              <a:ext cx="0" cy="3749790"/>
            </a:xfrm>
            <a:prstGeom prst="straightConnector1">
              <a:avLst/>
            </a:prstGeom>
            <a:ln w="17069">
              <a:solidFill>
                <a:srgbClr val="0A7B99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mit Pfeil 88">
              <a:extLst>
                <a:ext uri="{FF2B5EF4-FFF2-40B4-BE49-F238E27FC236}">
                  <a16:creationId xmlns:a16="http://schemas.microsoft.com/office/drawing/2014/main" id="{ACCFF49F-B579-3DB9-2B50-94D7E4E0828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687645" y="29779211"/>
              <a:ext cx="3785090" cy="0"/>
            </a:xfrm>
            <a:prstGeom prst="straightConnector1">
              <a:avLst/>
            </a:prstGeom>
            <a:ln w="17069">
              <a:solidFill>
                <a:srgbClr val="0A7B99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mit Pfeil 89">
              <a:extLst>
                <a:ext uri="{FF2B5EF4-FFF2-40B4-BE49-F238E27FC236}">
                  <a16:creationId xmlns:a16="http://schemas.microsoft.com/office/drawing/2014/main" id="{4B3142CB-EEF7-216E-2F80-4B224D6510F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80575" y="28204759"/>
              <a:ext cx="1028097" cy="1304931"/>
            </a:xfrm>
            <a:prstGeom prst="straightConnector1">
              <a:avLst/>
            </a:prstGeom>
            <a:ln w="17069">
              <a:solidFill>
                <a:srgbClr val="0A7B99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Textfeld 90">
              <a:extLst>
                <a:ext uri="{FF2B5EF4-FFF2-40B4-BE49-F238E27FC236}">
                  <a16:creationId xmlns:a16="http://schemas.microsoft.com/office/drawing/2014/main" id="{08FA0E4F-89C5-98D0-2720-5448BD510F6B}"/>
                </a:ext>
              </a:extLst>
            </p:cNvPr>
            <p:cNvSpPr txBox="1"/>
            <p:nvPr/>
          </p:nvSpPr>
          <p:spPr>
            <a:xfrm>
              <a:off x="4424702" y="29859406"/>
              <a:ext cx="2164569" cy="523235"/>
            </a:xfrm>
            <a:prstGeom prst="rect">
              <a:avLst/>
            </a:prstGeom>
            <a:noFill/>
          </p:spPr>
          <p:txBody>
            <a:bodyPr wrap="none" lIns="30724" tIns="15362" rIns="30724" bIns="15362" rtlCol="0">
              <a:spAutoFit/>
            </a:bodyPr>
            <a:lstStyle/>
            <a:p>
              <a:r>
                <a:rPr lang="de-DE" sz="941"/>
                <a:t>Parameter 1</a:t>
              </a:r>
            </a:p>
          </p:txBody>
        </p: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C06F06BE-FA70-1F78-E9C3-E3FD7196C08A}"/>
                </a:ext>
              </a:extLst>
            </p:cNvPr>
            <p:cNvSpPr txBox="1"/>
            <p:nvPr/>
          </p:nvSpPr>
          <p:spPr>
            <a:xfrm>
              <a:off x="8601533" y="28715248"/>
              <a:ext cx="2164569" cy="523235"/>
            </a:xfrm>
            <a:prstGeom prst="rect">
              <a:avLst/>
            </a:prstGeom>
            <a:noFill/>
          </p:spPr>
          <p:txBody>
            <a:bodyPr wrap="none" lIns="30724" tIns="15362" rIns="30724" bIns="15362" rtlCol="0">
              <a:spAutoFit/>
            </a:bodyPr>
            <a:lstStyle/>
            <a:p>
              <a:r>
                <a:rPr lang="de-DE" sz="941"/>
                <a:t>Parameter 2</a:t>
              </a:r>
            </a:p>
          </p:txBody>
        </p:sp>
        <p:sp>
          <p:nvSpPr>
            <p:cNvPr id="93" name="Textfeld 92">
              <a:extLst>
                <a:ext uri="{FF2B5EF4-FFF2-40B4-BE49-F238E27FC236}">
                  <a16:creationId xmlns:a16="http://schemas.microsoft.com/office/drawing/2014/main" id="{21C017CB-B38F-A7E1-63E5-80DF00EED0E5}"/>
                </a:ext>
              </a:extLst>
            </p:cNvPr>
            <p:cNvSpPr txBox="1"/>
            <p:nvPr/>
          </p:nvSpPr>
          <p:spPr>
            <a:xfrm rot="16200000">
              <a:off x="1819950" y="27483999"/>
              <a:ext cx="2164568" cy="523235"/>
            </a:xfrm>
            <a:prstGeom prst="rect">
              <a:avLst/>
            </a:prstGeom>
            <a:noFill/>
          </p:spPr>
          <p:txBody>
            <a:bodyPr wrap="none" lIns="30724" tIns="15362" rIns="30724" bIns="15362" rtlCol="0">
              <a:spAutoFit/>
            </a:bodyPr>
            <a:lstStyle/>
            <a:p>
              <a:r>
                <a:rPr lang="de-DE" sz="941"/>
                <a:t>Parameter 3</a:t>
              </a: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454C4C98-5A13-231A-47F5-93D7675587D6}"/>
                </a:ext>
              </a:extLst>
            </p:cNvPr>
            <p:cNvSpPr txBox="1"/>
            <p:nvPr/>
          </p:nvSpPr>
          <p:spPr>
            <a:xfrm>
              <a:off x="3261759" y="29876153"/>
              <a:ext cx="819191" cy="461405"/>
            </a:xfrm>
            <a:prstGeom prst="rect">
              <a:avLst/>
            </a:prstGeom>
            <a:noFill/>
          </p:spPr>
          <p:txBody>
            <a:bodyPr wrap="none" lIns="30724" tIns="15362" rIns="30724" bIns="15362" rtlCol="0">
              <a:spAutoFit/>
            </a:bodyPr>
            <a:lstStyle/>
            <a:p>
              <a:r>
                <a:rPr lang="de-DE" sz="806" i="1"/>
                <a:t>High</a:t>
              </a:r>
            </a:p>
          </p:txBody>
        </p:sp>
        <p:sp>
          <p:nvSpPr>
            <p:cNvPr id="95" name="Textfeld 94">
              <a:extLst>
                <a:ext uri="{FF2B5EF4-FFF2-40B4-BE49-F238E27FC236}">
                  <a16:creationId xmlns:a16="http://schemas.microsoft.com/office/drawing/2014/main" id="{644B2FE2-77F5-5853-50E6-D9B60C5F1ABE}"/>
                </a:ext>
              </a:extLst>
            </p:cNvPr>
            <p:cNvSpPr txBox="1"/>
            <p:nvPr/>
          </p:nvSpPr>
          <p:spPr>
            <a:xfrm>
              <a:off x="6967715" y="29844391"/>
              <a:ext cx="752399" cy="461405"/>
            </a:xfrm>
            <a:prstGeom prst="rect">
              <a:avLst/>
            </a:prstGeom>
            <a:noFill/>
          </p:spPr>
          <p:txBody>
            <a:bodyPr wrap="none" lIns="30724" tIns="15362" rIns="30724" bIns="15362" rtlCol="0">
              <a:spAutoFit/>
            </a:bodyPr>
            <a:lstStyle/>
            <a:p>
              <a:r>
                <a:rPr lang="de-DE" sz="806" i="1"/>
                <a:t>Low</a:t>
              </a:r>
            </a:p>
          </p:txBody>
        </p:sp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7C11AD2F-B55C-E830-238A-697041FE0626}"/>
                </a:ext>
              </a:extLst>
            </p:cNvPr>
            <p:cNvSpPr txBox="1"/>
            <p:nvPr/>
          </p:nvSpPr>
          <p:spPr>
            <a:xfrm>
              <a:off x="8083420" y="29420594"/>
              <a:ext cx="819191" cy="461405"/>
            </a:xfrm>
            <a:prstGeom prst="rect">
              <a:avLst/>
            </a:prstGeom>
            <a:noFill/>
          </p:spPr>
          <p:txBody>
            <a:bodyPr wrap="none" lIns="30724" tIns="15362" rIns="30724" bIns="15362" rtlCol="0">
              <a:spAutoFit/>
            </a:bodyPr>
            <a:lstStyle/>
            <a:p>
              <a:r>
                <a:rPr lang="de-DE" sz="806" i="1"/>
                <a:t>High</a:t>
              </a:r>
            </a:p>
          </p:txBody>
        </p:sp>
        <p:sp>
          <p:nvSpPr>
            <p:cNvPr id="97" name="Textfeld 96">
              <a:extLst>
                <a:ext uri="{FF2B5EF4-FFF2-40B4-BE49-F238E27FC236}">
                  <a16:creationId xmlns:a16="http://schemas.microsoft.com/office/drawing/2014/main" id="{C54D7E55-0B97-A438-8478-EC81337705B5}"/>
                </a:ext>
              </a:extLst>
            </p:cNvPr>
            <p:cNvSpPr txBox="1"/>
            <p:nvPr/>
          </p:nvSpPr>
          <p:spPr>
            <a:xfrm>
              <a:off x="9062358" y="27967344"/>
              <a:ext cx="752399" cy="461405"/>
            </a:xfrm>
            <a:prstGeom prst="rect">
              <a:avLst/>
            </a:prstGeom>
            <a:noFill/>
          </p:spPr>
          <p:txBody>
            <a:bodyPr wrap="none" lIns="30724" tIns="15362" rIns="30724" bIns="15362" rtlCol="0">
              <a:spAutoFit/>
            </a:bodyPr>
            <a:lstStyle/>
            <a:p>
              <a:r>
                <a:rPr lang="de-DE" sz="806" i="1"/>
                <a:t>Low</a:t>
              </a:r>
            </a:p>
          </p:txBody>
        </p:sp>
        <p:sp>
          <p:nvSpPr>
            <p:cNvPr id="98" name="Textfeld 97">
              <a:extLst>
                <a:ext uri="{FF2B5EF4-FFF2-40B4-BE49-F238E27FC236}">
                  <a16:creationId xmlns:a16="http://schemas.microsoft.com/office/drawing/2014/main" id="{1F14FDF0-526A-FE1C-286C-26C487A6F9C3}"/>
                </a:ext>
              </a:extLst>
            </p:cNvPr>
            <p:cNvSpPr txBox="1"/>
            <p:nvPr/>
          </p:nvSpPr>
          <p:spPr>
            <a:xfrm>
              <a:off x="2317277" y="25608148"/>
              <a:ext cx="819191" cy="461405"/>
            </a:xfrm>
            <a:prstGeom prst="rect">
              <a:avLst/>
            </a:prstGeom>
            <a:noFill/>
          </p:spPr>
          <p:txBody>
            <a:bodyPr wrap="none" lIns="30724" tIns="15362" rIns="30724" bIns="15362" rtlCol="0">
              <a:spAutoFit/>
            </a:bodyPr>
            <a:lstStyle/>
            <a:p>
              <a:r>
                <a:rPr lang="de-DE" sz="806" i="1"/>
                <a:t>High</a:t>
              </a:r>
            </a:p>
          </p:txBody>
        </p:sp>
        <p:sp>
          <p:nvSpPr>
            <p:cNvPr id="99" name="Textfeld 98">
              <a:extLst>
                <a:ext uri="{FF2B5EF4-FFF2-40B4-BE49-F238E27FC236}">
                  <a16:creationId xmlns:a16="http://schemas.microsoft.com/office/drawing/2014/main" id="{BD63A983-2E36-956C-5917-AAE74A9954AF}"/>
                </a:ext>
              </a:extLst>
            </p:cNvPr>
            <p:cNvSpPr txBox="1"/>
            <p:nvPr/>
          </p:nvSpPr>
          <p:spPr>
            <a:xfrm>
              <a:off x="2355792" y="29353995"/>
              <a:ext cx="752399" cy="461405"/>
            </a:xfrm>
            <a:prstGeom prst="rect">
              <a:avLst/>
            </a:prstGeom>
            <a:noFill/>
          </p:spPr>
          <p:txBody>
            <a:bodyPr wrap="none" lIns="30724" tIns="15362" rIns="30724" bIns="15362" rtlCol="0">
              <a:spAutoFit/>
            </a:bodyPr>
            <a:lstStyle/>
            <a:p>
              <a:r>
                <a:rPr lang="de-DE" sz="806" i="1"/>
                <a:t>Low</a:t>
              </a:r>
            </a:p>
          </p:txBody>
        </p:sp>
      </p:grpSp>
      <p:sp>
        <p:nvSpPr>
          <p:cNvPr id="346" name="Textfeld 345">
            <a:extLst>
              <a:ext uri="{FF2B5EF4-FFF2-40B4-BE49-F238E27FC236}">
                <a16:creationId xmlns:a16="http://schemas.microsoft.com/office/drawing/2014/main" id="{D57B582C-D067-7FBA-E8BF-0C136FD3A389}"/>
              </a:ext>
            </a:extLst>
          </p:cNvPr>
          <p:cNvSpPr txBox="1"/>
          <p:nvPr/>
        </p:nvSpPr>
        <p:spPr bwMode="auto">
          <a:xfrm>
            <a:off x="2658730" y="80410698"/>
            <a:ext cx="767723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Clr>
                <a:srgbClr val="84B819"/>
              </a:buClr>
              <a:defRPr/>
            </a:pPr>
            <a:r>
              <a:rPr lang="de-DE" sz="3600" b="1">
                <a:solidFill>
                  <a:prstClr val="black"/>
                </a:solidFill>
              </a:rPr>
              <a:t>Methoden der Datenakquise &amp;</a:t>
            </a:r>
          </a:p>
          <a:p>
            <a:pPr algn="ctr">
              <a:spcAft>
                <a:spcPts val="600"/>
              </a:spcAft>
              <a:buClr>
                <a:srgbClr val="84B819"/>
              </a:buClr>
              <a:defRPr/>
            </a:pPr>
            <a:r>
              <a:rPr lang="de-DE" sz="3600" b="1">
                <a:solidFill>
                  <a:prstClr val="black"/>
                </a:solidFill>
              </a:rPr>
              <a:t>Unsicherheitsanalyse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37A80C1F-4B6E-D99C-6AC9-61F6B40F6131}"/>
              </a:ext>
            </a:extLst>
          </p:cNvPr>
          <p:cNvSpPr txBox="1"/>
          <p:nvPr/>
        </p:nvSpPr>
        <p:spPr bwMode="auto">
          <a:xfrm>
            <a:off x="834229" y="8416130"/>
            <a:ext cx="142019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Clr>
                <a:schemeClr val="accent6"/>
              </a:buClr>
              <a:defRPr/>
            </a:pPr>
            <a:r>
              <a:rPr lang="de-DE" sz="3600" u="sng" dirty="0">
                <a:latin typeface="Arial" panose="020B0604020202020204" pitchFamily="34" charset="0"/>
                <a:cs typeface="Arial" panose="020B0604020202020204" pitchFamily="34" charset="0"/>
              </a:rPr>
              <a:t>Spannungsfeld zwischen Messunsicherheit und </a:t>
            </a:r>
            <a:r>
              <a:rPr lang="de-DE" sz="3600" u="sng" dirty="0" err="1">
                <a:latin typeface="Arial" panose="020B0604020202020204" pitchFamily="34" charset="0"/>
                <a:cs typeface="Arial" panose="020B0604020202020204" pitchFamily="34" charset="0"/>
              </a:rPr>
              <a:t>Messzeit</a:t>
            </a:r>
            <a:endParaRPr lang="de-DE" sz="3600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Textfeld 177">
            <a:extLst>
              <a:ext uri="{FF2B5EF4-FFF2-40B4-BE49-F238E27FC236}">
                <a16:creationId xmlns:a16="http://schemas.microsoft.com/office/drawing/2014/main" id="{ED22139E-D807-BAE2-512A-8E0A873BE553}"/>
              </a:ext>
            </a:extLst>
          </p:cNvPr>
          <p:cNvSpPr txBox="1"/>
          <p:nvPr/>
        </p:nvSpPr>
        <p:spPr bwMode="auto">
          <a:xfrm>
            <a:off x="1326590" y="7578100"/>
            <a:ext cx="1315133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de-DE" sz="4400" b="1" dirty="0">
                <a:latin typeface="Arial" panose="020B0604020202020204" pitchFamily="34" charset="0"/>
                <a:cs typeface="Arial" panose="020B0604020202020204" pitchFamily="34" charset="0"/>
              </a:rPr>
              <a:t>Datenqualität und Unsicherheitsquantifizierung</a:t>
            </a:r>
            <a:endParaRPr lang="de-DE" sz="4400" b="1" baseline="-25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15977355-D39E-D0D4-71BC-9E5E98385924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078411" y="30790374"/>
            <a:ext cx="4576458" cy="3386401"/>
          </a:xfrm>
          <a:prstGeom prst="rect">
            <a:avLst/>
          </a:prstGeom>
        </p:spPr>
      </p:pic>
      <p:sp>
        <p:nvSpPr>
          <p:cNvPr id="150" name="Textfeld 149">
            <a:extLst>
              <a:ext uri="{FF2B5EF4-FFF2-40B4-BE49-F238E27FC236}">
                <a16:creationId xmlns:a16="http://schemas.microsoft.com/office/drawing/2014/main" id="{0C9E8631-F1D9-474C-ECCD-BF6AB0A5B7E6}"/>
              </a:ext>
            </a:extLst>
          </p:cNvPr>
          <p:cNvSpPr txBox="1"/>
          <p:nvPr/>
        </p:nvSpPr>
        <p:spPr bwMode="auto">
          <a:xfrm>
            <a:off x="15111483" y="31807549"/>
            <a:ext cx="4514005" cy="1200329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Gaussian Process Regression</a:t>
            </a:r>
          </a:p>
        </p:txBody>
      </p:sp>
      <p:grpSp>
        <p:nvGrpSpPr>
          <p:cNvPr id="151" name="Gruppieren 150">
            <a:extLst>
              <a:ext uri="{FF2B5EF4-FFF2-40B4-BE49-F238E27FC236}">
                <a16:creationId xmlns:a16="http://schemas.microsoft.com/office/drawing/2014/main" id="{F32728E8-362D-D396-12FC-30AF8252A6A6}"/>
              </a:ext>
            </a:extLst>
          </p:cNvPr>
          <p:cNvGrpSpPr/>
          <p:nvPr/>
        </p:nvGrpSpPr>
        <p:grpSpPr>
          <a:xfrm>
            <a:off x="21986486" y="32551734"/>
            <a:ext cx="6897981" cy="1604332"/>
            <a:chOff x="7800588" y="6777119"/>
            <a:chExt cx="7021356" cy="2046015"/>
          </a:xfrm>
        </p:grpSpPr>
        <p:pic>
          <p:nvPicPr>
            <p:cNvPr id="152" name="Grafik 151">
              <a:extLst>
                <a:ext uri="{FF2B5EF4-FFF2-40B4-BE49-F238E27FC236}">
                  <a16:creationId xmlns:a16="http://schemas.microsoft.com/office/drawing/2014/main" id="{76B7A768-CDAE-7629-1517-50B3E2E693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923971" y="6777119"/>
              <a:ext cx="6897973" cy="2046015"/>
            </a:xfrm>
            <a:prstGeom prst="rect">
              <a:avLst/>
            </a:prstGeom>
          </p:spPr>
        </p:pic>
        <p:sp>
          <p:nvSpPr>
            <p:cNvPr id="153" name="Textfeld 152">
              <a:extLst>
                <a:ext uri="{FF2B5EF4-FFF2-40B4-BE49-F238E27FC236}">
                  <a16:creationId xmlns:a16="http://schemas.microsoft.com/office/drawing/2014/main" id="{61802D36-A44F-262C-559E-62CDCB335D10}"/>
                </a:ext>
              </a:extLst>
            </p:cNvPr>
            <p:cNvSpPr txBox="1"/>
            <p:nvPr/>
          </p:nvSpPr>
          <p:spPr>
            <a:xfrm>
              <a:off x="7800588" y="7021002"/>
              <a:ext cx="7021354" cy="1560975"/>
            </a:xfrm>
            <a:prstGeom prst="rect">
              <a:avLst/>
            </a:prstGeom>
            <a:solidFill>
              <a:schemeClr val="bg1">
                <a:alpha val="8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600" b="1" dirty="0">
                  <a:latin typeface="Arial" panose="020B0604020202020204" pitchFamily="34" charset="0"/>
                  <a:cs typeface="Arial" panose="020B0604020202020204" pitchFamily="34" charset="0"/>
                </a:rPr>
                <a:t>Unsicherheitsvergleich</a:t>
              </a:r>
            </a:p>
            <a:p>
              <a:pPr algn="ctr"/>
              <a:r>
                <a:rPr lang="de-DE" sz="36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3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ex-ante </a:t>
              </a:r>
              <a:r>
                <a:rPr lang="de-DE" sz="3600" b="1" dirty="0">
                  <a:latin typeface="Arial" panose="020B0604020202020204" pitchFamily="34" charset="0"/>
                  <a:cs typeface="Arial" panose="020B0604020202020204" pitchFamily="34" charset="0"/>
                </a:rPr>
                <a:t>/ </a:t>
              </a:r>
              <a:r>
                <a:rPr lang="de-DE" sz="3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ex-post</a:t>
              </a:r>
              <a:endParaRPr lang="de-DE" sz="36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54" name="Grafik 153">
            <a:extLst>
              <a:ext uri="{FF2B5EF4-FFF2-40B4-BE49-F238E27FC236}">
                <a16:creationId xmlns:a16="http://schemas.microsoft.com/office/drawing/2014/main" id="{7D27479E-5019-9925-79D7-C091C2197EC4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86486" y="30203578"/>
            <a:ext cx="6897983" cy="2029255"/>
          </a:xfrm>
          <a:prstGeom prst="rect">
            <a:avLst/>
          </a:prstGeom>
        </p:spPr>
      </p:pic>
      <p:sp>
        <p:nvSpPr>
          <p:cNvPr id="155" name="Textfeld 154">
            <a:extLst>
              <a:ext uri="{FF2B5EF4-FFF2-40B4-BE49-F238E27FC236}">
                <a16:creationId xmlns:a16="http://schemas.microsoft.com/office/drawing/2014/main" id="{A6103549-E6CE-FAAA-CAA5-1666472EE867}"/>
              </a:ext>
            </a:extLst>
          </p:cNvPr>
          <p:cNvSpPr txBox="1"/>
          <p:nvPr/>
        </p:nvSpPr>
        <p:spPr>
          <a:xfrm>
            <a:off x="22103862" y="30855190"/>
            <a:ext cx="6780599" cy="64633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600" b="1">
                <a:latin typeface="Arial" panose="020B0604020202020204" pitchFamily="34" charset="0"/>
                <a:cs typeface="Arial" panose="020B0604020202020204" pitchFamily="34" charset="0"/>
              </a:rPr>
              <a:t>Monte Carlo Simulation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E4B815CD-BAFA-C773-C9DF-42A6EBBF8D94}"/>
              </a:ext>
            </a:extLst>
          </p:cNvPr>
          <p:cNvSpPr txBox="1"/>
          <p:nvPr/>
        </p:nvSpPr>
        <p:spPr>
          <a:xfrm>
            <a:off x="22103868" y="28928084"/>
            <a:ext cx="6780599" cy="64633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600" b="1">
                <a:latin typeface="Arial" panose="020B0604020202020204" pitchFamily="34" charset="0"/>
                <a:cs typeface="Arial" panose="020B0604020202020204" pitchFamily="34" charset="0"/>
              </a:rPr>
              <a:t>Taylor Approximation</a:t>
            </a:r>
          </a:p>
        </p:txBody>
      </p:sp>
      <p:cxnSp>
        <p:nvCxnSpPr>
          <p:cNvPr id="162" name="Gerader Verbinder 161">
            <a:extLst>
              <a:ext uri="{FF2B5EF4-FFF2-40B4-BE49-F238E27FC236}">
                <a16:creationId xmlns:a16="http://schemas.microsoft.com/office/drawing/2014/main" id="{5B733269-BD31-FAFC-5B59-CC915336828B}"/>
              </a:ext>
            </a:extLst>
          </p:cNvPr>
          <p:cNvCxnSpPr>
            <a:cxnSpLocks/>
          </p:cNvCxnSpPr>
          <p:nvPr/>
        </p:nvCxnSpPr>
        <p:spPr>
          <a:xfrm>
            <a:off x="15214761" y="7503696"/>
            <a:ext cx="0" cy="12268200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0" name="Gruppieren 279">
            <a:extLst>
              <a:ext uri="{FF2B5EF4-FFF2-40B4-BE49-F238E27FC236}">
                <a16:creationId xmlns:a16="http://schemas.microsoft.com/office/drawing/2014/main" id="{CEE2717B-00B7-EED6-158A-26B63F8890CE}"/>
              </a:ext>
            </a:extLst>
          </p:cNvPr>
          <p:cNvGrpSpPr/>
          <p:nvPr/>
        </p:nvGrpSpPr>
        <p:grpSpPr>
          <a:xfrm>
            <a:off x="15401879" y="15820621"/>
            <a:ext cx="12360358" cy="3829108"/>
            <a:chOff x="16304117" y="15953571"/>
            <a:chExt cx="12360358" cy="3829108"/>
          </a:xfrm>
        </p:grpSpPr>
        <p:grpSp>
          <p:nvGrpSpPr>
            <p:cNvPr id="262" name="Gruppieren 261">
              <a:extLst>
                <a:ext uri="{FF2B5EF4-FFF2-40B4-BE49-F238E27FC236}">
                  <a16:creationId xmlns:a16="http://schemas.microsoft.com/office/drawing/2014/main" id="{EDDF079E-20B5-BE11-433E-D6010173627B}"/>
                </a:ext>
              </a:extLst>
            </p:cNvPr>
            <p:cNvGrpSpPr/>
            <p:nvPr/>
          </p:nvGrpSpPr>
          <p:grpSpPr>
            <a:xfrm>
              <a:off x="16540863" y="15953571"/>
              <a:ext cx="12123612" cy="3829108"/>
              <a:chOff x="6202281" y="3940527"/>
              <a:chExt cx="6061806" cy="1914554"/>
            </a:xfrm>
          </p:grpSpPr>
          <p:pic>
            <p:nvPicPr>
              <p:cNvPr id="275" name="Grafik 274">
                <a:extLst>
                  <a:ext uri="{FF2B5EF4-FFF2-40B4-BE49-F238E27FC236}">
                    <a16:creationId xmlns:a16="http://schemas.microsoft.com/office/drawing/2014/main" id="{6D638A50-8E9C-9DC8-9F51-634FCFE142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rcRect r="788"/>
              <a:stretch>
                <a:fillRect/>
              </a:stretch>
            </p:blipFill>
            <p:spPr>
              <a:xfrm>
                <a:off x="6202281" y="3940527"/>
                <a:ext cx="6061806" cy="1914554"/>
              </a:xfrm>
              <a:prstGeom prst="rect">
                <a:avLst/>
              </a:prstGeom>
            </p:spPr>
          </p:pic>
          <p:sp>
            <p:nvSpPr>
              <p:cNvPr id="276" name="Rechteck 275">
                <a:extLst>
                  <a:ext uri="{FF2B5EF4-FFF2-40B4-BE49-F238E27FC236}">
                    <a16:creationId xmlns:a16="http://schemas.microsoft.com/office/drawing/2014/main" id="{9A661408-CD04-19ED-824B-385D8D2A3FF2}"/>
                  </a:ext>
                </a:extLst>
              </p:cNvPr>
              <p:cNvSpPr/>
              <p:nvPr/>
            </p:nvSpPr>
            <p:spPr>
              <a:xfrm>
                <a:off x="10541425" y="4185974"/>
                <a:ext cx="1668781" cy="153320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tIns="91440" rIns="182880" bIns="91440"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277" name="Grafik 276">
                <a:extLst>
                  <a:ext uri="{FF2B5EF4-FFF2-40B4-BE49-F238E27FC236}">
                    <a16:creationId xmlns:a16="http://schemas.microsoft.com/office/drawing/2014/main" id="{21EB40E5-F798-F1A4-A465-E9E5DFFCF7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10678933" y="4056920"/>
                <a:ext cx="1403955" cy="1692090"/>
              </a:xfrm>
              <a:prstGeom prst="rect">
                <a:avLst/>
              </a:prstGeom>
            </p:spPr>
          </p:pic>
        </p:grpSp>
        <p:sp>
          <p:nvSpPr>
            <p:cNvPr id="263" name="Textfeld 262">
              <a:extLst>
                <a:ext uri="{FF2B5EF4-FFF2-40B4-BE49-F238E27FC236}">
                  <a16:creationId xmlns:a16="http://schemas.microsoft.com/office/drawing/2014/main" id="{1DBB1493-34F5-C2A0-9E70-8D4EB094379D}"/>
                </a:ext>
              </a:extLst>
            </p:cNvPr>
            <p:cNvSpPr txBox="1"/>
            <p:nvPr/>
          </p:nvSpPr>
          <p:spPr>
            <a:xfrm>
              <a:off x="16316265" y="16737727"/>
              <a:ext cx="2411558" cy="584776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182880" tIns="91440" rIns="182880" bIns="91440" rtlCol="0">
              <a:spAutoFit/>
            </a:bodyPr>
            <a:lstStyle/>
            <a:p>
              <a:pPr algn="r"/>
              <a:r>
                <a:rPr lang="de-DE" sz="2600">
                  <a:latin typeface="Arial" panose="020B0604020202020204" pitchFamily="34" charset="0"/>
                  <a:cs typeface="Arial" panose="020B0604020202020204" pitchFamily="34" charset="0"/>
                </a:rPr>
                <a:t>Sensoreinheit</a:t>
              </a:r>
            </a:p>
          </p:txBody>
        </p:sp>
        <p:sp>
          <p:nvSpPr>
            <p:cNvPr id="264" name="Textfeld 263">
              <a:extLst>
                <a:ext uri="{FF2B5EF4-FFF2-40B4-BE49-F238E27FC236}">
                  <a16:creationId xmlns:a16="http://schemas.microsoft.com/office/drawing/2014/main" id="{EF330851-BF93-6340-5ECC-7122E4E20A41}"/>
                </a:ext>
              </a:extLst>
            </p:cNvPr>
            <p:cNvSpPr txBox="1"/>
            <p:nvPr/>
          </p:nvSpPr>
          <p:spPr>
            <a:xfrm>
              <a:off x="16319017" y="17235747"/>
              <a:ext cx="2782162" cy="584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182880" tIns="91440" rIns="182880" bIns="91440" rtlCol="0">
              <a:spAutoFit/>
            </a:bodyPr>
            <a:lstStyle/>
            <a:p>
              <a:pPr algn="r"/>
              <a:r>
                <a:rPr lang="de-DE" sz="2600">
                  <a:latin typeface="Arial" panose="020B0604020202020204" pitchFamily="34" charset="0"/>
                  <a:cs typeface="Arial" panose="020B0604020202020204" pitchFamily="34" charset="0"/>
                </a:rPr>
                <a:t>Linsenmagazin</a:t>
              </a:r>
            </a:p>
          </p:txBody>
        </p:sp>
        <p:sp>
          <p:nvSpPr>
            <p:cNvPr id="265" name="Textfeld 264">
              <a:extLst>
                <a:ext uri="{FF2B5EF4-FFF2-40B4-BE49-F238E27FC236}">
                  <a16:creationId xmlns:a16="http://schemas.microsoft.com/office/drawing/2014/main" id="{99E35922-8FB1-CD3C-56D3-FEBAB9FF239A}"/>
                </a:ext>
              </a:extLst>
            </p:cNvPr>
            <p:cNvSpPr txBox="1"/>
            <p:nvPr/>
          </p:nvSpPr>
          <p:spPr>
            <a:xfrm>
              <a:off x="16319017" y="18150901"/>
              <a:ext cx="2749286" cy="584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182880" tIns="91440" rIns="182880" bIns="91440" rtlCol="0">
              <a:spAutoFit/>
            </a:bodyPr>
            <a:lstStyle/>
            <a:p>
              <a:pPr algn="r"/>
              <a:r>
                <a:rPr lang="de-DE" sz="2600">
                  <a:latin typeface="Arial" panose="020B0604020202020204" pitchFamily="34" charset="0"/>
                  <a:cs typeface="Arial" panose="020B0604020202020204" pitchFamily="34" charset="0"/>
                </a:rPr>
                <a:t>Granittisch</a:t>
              </a:r>
            </a:p>
          </p:txBody>
        </p:sp>
        <p:sp>
          <p:nvSpPr>
            <p:cNvPr id="266" name="Textfeld 265">
              <a:extLst>
                <a:ext uri="{FF2B5EF4-FFF2-40B4-BE49-F238E27FC236}">
                  <a16:creationId xmlns:a16="http://schemas.microsoft.com/office/drawing/2014/main" id="{FE499B5F-F996-998E-6535-12A7F5FE3327}"/>
                </a:ext>
              </a:extLst>
            </p:cNvPr>
            <p:cNvSpPr txBox="1"/>
            <p:nvPr/>
          </p:nvSpPr>
          <p:spPr>
            <a:xfrm>
              <a:off x="16304117" y="17737205"/>
              <a:ext cx="2749286" cy="584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182880" tIns="91440" rIns="182880" bIns="91440" rtlCol="0">
              <a:spAutoFit/>
            </a:bodyPr>
            <a:lstStyle/>
            <a:p>
              <a:pPr algn="r"/>
              <a:r>
                <a:rPr lang="de-DE" sz="2600">
                  <a:latin typeface="Arial" panose="020B0604020202020204" pitchFamily="34" charset="0"/>
                  <a:cs typeface="Arial" panose="020B0604020202020204" pitchFamily="34" charset="0"/>
                </a:rPr>
                <a:t>Rotationseinheit</a:t>
              </a:r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DF255529-9329-5AE9-EE34-527C615B8432}"/>
                </a:ext>
              </a:extLst>
            </p:cNvPr>
            <p:cNvSpPr/>
            <p:nvPr/>
          </p:nvSpPr>
          <p:spPr>
            <a:xfrm>
              <a:off x="21218075" y="18593201"/>
              <a:ext cx="2481272" cy="541176"/>
            </a:xfrm>
            <a:prstGeom prst="rect">
              <a:avLst/>
            </a:prstGeom>
            <a:ln w="19050">
              <a:solidFill>
                <a:schemeClr val="bg1"/>
              </a:solidFill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182880" tIns="91440" rIns="182880" bIns="91440" rtlCol="0" anchor="ctr"/>
            <a:lstStyle/>
            <a:p>
              <a:pPr algn="ctr"/>
              <a:endParaRPr lang="de-DE"/>
            </a:p>
          </p:txBody>
        </p:sp>
        <p:sp>
          <p:nvSpPr>
            <p:cNvPr id="270" name="Textfeld 269">
              <a:extLst>
                <a:ext uri="{FF2B5EF4-FFF2-40B4-BE49-F238E27FC236}">
                  <a16:creationId xmlns:a16="http://schemas.microsoft.com/office/drawing/2014/main" id="{3D6705D9-7E32-FB13-E8EE-4114B349214C}"/>
                </a:ext>
              </a:extLst>
            </p:cNvPr>
            <p:cNvSpPr txBox="1"/>
            <p:nvPr/>
          </p:nvSpPr>
          <p:spPr>
            <a:xfrm>
              <a:off x="21136393" y="18580379"/>
              <a:ext cx="2644636" cy="553998"/>
            </a:xfrm>
            <a:prstGeom prst="rect">
              <a:avLst/>
            </a:prstGeom>
            <a:noFill/>
          </p:spPr>
          <p:txBody>
            <a:bodyPr wrap="square" lIns="182880" tIns="91440" rIns="182880" bIns="91440" rtlCol="0">
              <a:spAutoFit/>
            </a:bodyPr>
            <a:lstStyle/>
            <a:p>
              <a:pPr algn="r"/>
              <a:r>
                <a:rPr lang="de-DE" sz="24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reibackenfutter</a:t>
              </a:r>
            </a:p>
          </p:txBody>
        </p:sp>
        <p:sp>
          <p:nvSpPr>
            <p:cNvPr id="271" name="Rechteck 270">
              <a:extLst>
                <a:ext uri="{FF2B5EF4-FFF2-40B4-BE49-F238E27FC236}">
                  <a16:creationId xmlns:a16="http://schemas.microsoft.com/office/drawing/2014/main" id="{ADB47789-E478-49B4-DE06-71A0644CA43F}"/>
                </a:ext>
              </a:extLst>
            </p:cNvPr>
            <p:cNvSpPr/>
            <p:nvPr/>
          </p:nvSpPr>
          <p:spPr>
            <a:xfrm>
              <a:off x="23835475" y="16162415"/>
              <a:ext cx="927104" cy="541176"/>
            </a:xfrm>
            <a:prstGeom prst="rect">
              <a:avLst/>
            </a:prstGeom>
            <a:ln w="19050">
              <a:solidFill>
                <a:schemeClr val="bg1"/>
              </a:solidFill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182880" tIns="91440" rIns="182880" bIns="91440" rtlCol="0" anchor="ctr"/>
            <a:lstStyle/>
            <a:p>
              <a:pPr algn="ctr"/>
              <a:endParaRPr lang="de-DE"/>
            </a:p>
          </p:txBody>
        </p:sp>
        <p:sp>
          <p:nvSpPr>
            <p:cNvPr id="272" name="Textfeld 271">
              <a:extLst>
                <a:ext uri="{FF2B5EF4-FFF2-40B4-BE49-F238E27FC236}">
                  <a16:creationId xmlns:a16="http://schemas.microsoft.com/office/drawing/2014/main" id="{FC2C8A9A-A41C-A11F-B9B1-8C32D8EF5505}"/>
                </a:ext>
              </a:extLst>
            </p:cNvPr>
            <p:cNvSpPr txBox="1"/>
            <p:nvPr/>
          </p:nvSpPr>
          <p:spPr>
            <a:xfrm>
              <a:off x="23699347" y="16169313"/>
              <a:ext cx="1152094" cy="553998"/>
            </a:xfrm>
            <a:prstGeom prst="rect">
              <a:avLst/>
            </a:prstGeom>
            <a:noFill/>
          </p:spPr>
          <p:txBody>
            <a:bodyPr wrap="square" lIns="182880" tIns="91440" rIns="182880" bIns="91440" rtlCol="0">
              <a:spAutoFit/>
            </a:bodyPr>
            <a:lstStyle/>
            <a:p>
              <a:pPr algn="r"/>
              <a:r>
                <a:rPr lang="de-DE" sz="24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nse</a:t>
              </a:r>
            </a:p>
          </p:txBody>
        </p:sp>
      </p:grpSp>
      <p:sp>
        <p:nvSpPr>
          <p:cNvPr id="273" name="Textfeld 272">
            <a:extLst>
              <a:ext uri="{FF2B5EF4-FFF2-40B4-BE49-F238E27FC236}">
                <a16:creationId xmlns:a16="http://schemas.microsoft.com/office/drawing/2014/main" id="{D781D158-FA1F-D7A8-0FE7-78FCFED9FE60}"/>
              </a:ext>
            </a:extLst>
          </p:cNvPr>
          <p:cNvSpPr txBox="1"/>
          <p:nvPr/>
        </p:nvSpPr>
        <p:spPr>
          <a:xfrm>
            <a:off x="15985062" y="14474322"/>
            <a:ext cx="120451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Clr>
                <a:schemeClr val="accent6"/>
              </a:buClr>
              <a:defRPr/>
            </a:pPr>
            <a:r>
              <a:rPr lang="de-DE" sz="3600" u="sng" dirty="0">
                <a:latin typeface="Arial" panose="020B0604020202020204" pitchFamily="34" charset="0"/>
                <a:cs typeface="Arial" panose="020B0604020202020204" pitchFamily="34" charset="0"/>
              </a:rPr>
              <a:t>Deep Learning für Point-Cloud-</a:t>
            </a:r>
            <a:r>
              <a:rPr lang="de-DE" sz="3600" u="sng" dirty="0" err="1">
                <a:latin typeface="Arial" panose="020B0604020202020204" pitchFamily="34" charset="0"/>
                <a:cs typeface="Arial" panose="020B0604020202020204" pitchFamily="34" charset="0"/>
              </a:rPr>
              <a:t>Completion</a:t>
            </a:r>
            <a:r>
              <a:rPr lang="de-DE" sz="3600" u="sng" dirty="0">
                <a:latin typeface="Arial" panose="020B0604020202020204" pitchFamily="34" charset="0"/>
                <a:cs typeface="Arial" panose="020B0604020202020204" pitchFamily="34" charset="0"/>
              </a:rPr>
              <a:t> zur Messzeit-reduktion bei optischen Koordinatenmessgeräten</a:t>
            </a:r>
          </a:p>
        </p:txBody>
      </p:sp>
      <p:sp>
        <p:nvSpPr>
          <p:cNvPr id="274" name="Textfeld 273">
            <a:extLst>
              <a:ext uri="{FF2B5EF4-FFF2-40B4-BE49-F238E27FC236}">
                <a16:creationId xmlns:a16="http://schemas.microsoft.com/office/drawing/2014/main" id="{F18FD07A-DEC7-8F07-C366-353E6514C10A}"/>
              </a:ext>
            </a:extLst>
          </p:cNvPr>
          <p:cNvSpPr txBox="1"/>
          <p:nvPr/>
        </p:nvSpPr>
        <p:spPr>
          <a:xfrm>
            <a:off x="24925439" y="19560589"/>
            <a:ext cx="296267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en </a:t>
            </a:r>
            <a:r>
              <a:rPr lang="de-DE" sz="2800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al. 2025</a:t>
            </a:r>
            <a:r>
              <a:rPr lang="de-DE" sz="2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2800" baseline="-25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1" name="Textfeld 280">
            <a:extLst>
              <a:ext uri="{FF2B5EF4-FFF2-40B4-BE49-F238E27FC236}">
                <a16:creationId xmlns:a16="http://schemas.microsoft.com/office/drawing/2014/main" id="{1E4B35B3-024D-718A-175E-42E815B304A3}"/>
              </a:ext>
            </a:extLst>
          </p:cNvPr>
          <p:cNvSpPr txBox="1">
            <a:spLocks/>
          </p:cNvSpPr>
          <p:nvPr/>
        </p:nvSpPr>
        <p:spPr>
          <a:xfrm>
            <a:off x="27871228" y="15028792"/>
            <a:ext cx="1555090" cy="646331"/>
          </a:xfrm>
          <a:prstGeom prst="rect">
            <a:avLst/>
          </a:prstGeom>
          <a:solidFill>
            <a:srgbClr val="369682"/>
          </a:solidFill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56032" tIns="128016" rIns="256032" bIns="128016" rtlCol="0" anchor="ctr"/>
          <a:lstStyle>
            <a:defPPr>
              <a:defRPr lang="de-DE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bk</a:t>
            </a:r>
            <a:endParaRPr kumimoji="0" lang="de-DE" sz="392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2" name="Textfeld 281">
            <a:extLst>
              <a:ext uri="{FF2B5EF4-FFF2-40B4-BE49-F238E27FC236}">
                <a16:creationId xmlns:a16="http://schemas.microsoft.com/office/drawing/2014/main" id="{C3521902-8A10-DCFB-CEF8-90A7B494D7AF}"/>
              </a:ext>
            </a:extLst>
          </p:cNvPr>
          <p:cNvSpPr txBox="1">
            <a:spLocks/>
          </p:cNvSpPr>
          <p:nvPr/>
        </p:nvSpPr>
        <p:spPr>
          <a:xfrm>
            <a:off x="27871228" y="15762168"/>
            <a:ext cx="1555089" cy="646331"/>
          </a:xfrm>
          <a:prstGeom prst="rect">
            <a:avLst/>
          </a:prstGeom>
          <a:solidFill>
            <a:srgbClr val="026681"/>
          </a:solidFill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56032" tIns="128016" rIns="256032" bIns="128016" rtlCol="0" anchor="ctr"/>
          <a:lstStyle>
            <a:defPPr>
              <a:defRPr lang="de-DE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TS</a:t>
            </a:r>
            <a:endParaRPr kumimoji="0" lang="de-DE" sz="392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3" name="Textfeld 282">
            <a:extLst>
              <a:ext uri="{FF2B5EF4-FFF2-40B4-BE49-F238E27FC236}">
                <a16:creationId xmlns:a16="http://schemas.microsoft.com/office/drawing/2014/main" id="{E4D7507D-30A6-CA30-0662-090B01409F8D}"/>
              </a:ext>
            </a:extLst>
          </p:cNvPr>
          <p:cNvSpPr txBox="1">
            <a:spLocks/>
          </p:cNvSpPr>
          <p:nvPr/>
        </p:nvSpPr>
        <p:spPr>
          <a:xfrm>
            <a:off x="25673931" y="34143590"/>
            <a:ext cx="1555090" cy="646331"/>
          </a:xfrm>
          <a:prstGeom prst="rect">
            <a:avLst/>
          </a:prstGeom>
          <a:solidFill>
            <a:srgbClr val="369682"/>
          </a:solidFill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56032" tIns="128016" rIns="256032" bIns="128016" rtlCol="0" anchor="ctr"/>
          <a:lstStyle>
            <a:defPPr>
              <a:defRPr lang="de-DE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bk</a:t>
            </a:r>
            <a:endParaRPr kumimoji="0" lang="de-DE" sz="392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4" name="Textfeld 283">
            <a:extLst>
              <a:ext uri="{FF2B5EF4-FFF2-40B4-BE49-F238E27FC236}">
                <a16:creationId xmlns:a16="http://schemas.microsoft.com/office/drawing/2014/main" id="{F9227E00-E186-CE7D-10D6-937EE2E4BE9C}"/>
              </a:ext>
            </a:extLst>
          </p:cNvPr>
          <p:cNvSpPr txBox="1">
            <a:spLocks/>
          </p:cNvSpPr>
          <p:nvPr/>
        </p:nvSpPr>
        <p:spPr>
          <a:xfrm>
            <a:off x="27338012" y="34154420"/>
            <a:ext cx="1555089" cy="646331"/>
          </a:xfrm>
          <a:prstGeom prst="rect">
            <a:avLst/>
          </a:prstGeom>
          <a:solidFill>
            <a:srgbClr val="026681"/>
          </a:solidFill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56032" tIns="128016" rIns="256032" bIns="128016" rtlCol="0" anchor="ctr"/>
          <a:lstStyle>
            <a:defPPr>
              <a:defRPr lang="de-DE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TS</a:t>
            </a:r>
            <a:endParaRPr kumimoji="0" lang="de-DE" sz="392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5" name="Textfeld 284">
            <a:extLst>
              <a:ext uri="{FF2B5EF4-FFF2-40B4-BE49-F238E27FC236}">
                <a16:creationId xmlns:a16="http://schemas.microsoft.com/office/drawing/2014/main" id="{9677A41E-EFCE-0692-D4B4-35A91E516202}"/>
              </a:ext>
            </a:extLst>
          </p:cNvPr>
          <p:cNvSpPr txBox="1">
            <a:spLocks/>
          </p:cNvSpPr>
          <p:nvPr/>
        </p:nvSpPr>
        <p:spPr>
          <a:xfrm>
            <a:off x="16358150" y="34114417"/>
            <a:ext cx="1555090" cy="646331"/>
          </a:xfrm>
          <a:prstGeom prst="rect">
            <a:avLst/>
          </a:prstGeom>
          <a:solidFill>
            <a:srgbClr val="369682"/>
          </a:solidFill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56032" tIns="128016" rIns="256032" bIns="128016" rtlCol="0" anchor="ctr"/>
          <a:lstStyle>
            <a:defPPr>
              <a:defRPr lang="de-DE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bk</a:t>
            </a:r>
            <a:endParaRPr kumimoji="0" lang="de-DE" sz="392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6" name="Textfeld 285">
            <a:extLst>
              <a:ext uri="{FF2B5EF4-FFF2-40B4-BE49-F238E27FC236}">
                <a16:creationId xmlns:a16="http://schemas.microsoft.com/office/drawing/2014/main" id="{C8529194-558F-5453-4D19-5883ED283EE4}"/>
              </a:ext>
            </a:extLst>
          </p:cNvPr>
          <p:cNvSpPr txBox="1">
            <a:spLocks/>
          </p:cNvSpPr>
          <p:nvPr/>
        </p:nvSpPr>
        <p:spPr>
          <a:xfrm>
            <a:off x="18022231" y="34125247"/>
            <a:ext cx="1555089" cy="646331"/>
          </a:xfrm>
          <a:prstGeom prst="rect">
            <a:avLst/>
          </a:prstGeom>
          <a:solidFill>
            <a:srgbClr val="026681"/>
          </a:solidFill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56032" tIns="128016" rIns="256032" bIns="128016" rtlCol="0" anchor="ctr"/>
          <a:lstStyle>
            <a:defPPr>
              <a:defRPr lang="de-DE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TS</a:t>
            </a:r>
            <a:endParaRPr kumimoji="0" lang="de-DE" sz="392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59" name="Gruppieren 258">
            <a:extLst>
              <a:ext uri="{FF2B5EF4-FFF2-40B4-BE49-F238E27FC236}">
                <a16:creationId xmlns:a16="http://schemas.microsoft.com/office/drawing/2014/main" id="{5A025968-BA32-E180-E2AB-641A6AC1B8C9}"/>
              </a:ext>
            </a:extLst>
          </p:cNvPr>
          <p:cNvGrpSpPr/>
          <p:nvPr/>
        </p:nvGrpSpPr>
        <p:grpSpPr>
          <a:xfrm>
            <a:off x="10487520" y="30895628"/>
            <a:ext cx="4798758" cy="3594790"/>
            <a:chOff x="13050434" y="28867830"/>
            <a:chExt cx="4798758" cy="3594790"/>
          </a:xfrm>
        </p:grpSpPr>
        <p:sp>
          <p:nvSpPr>
            <p:cNvPr id="215" name="Ellipse 51">
              <a:extLst>
                <a:ext uri="{FF2B5EF4-FFF2-40B4-BE49-F238E27FC236}">
                  <a16:creationId xmlns:a16="http://schemas.microsoft.com/office/drawing/2014/main" id="{CF17BE6C-58D8-39D1-41C4-AAEAEE1E1576}"/>
                </a:ext>
              </a:extLst>
            </p:cNvPr>
            <p:cNvSpPr/>
            <p:nvPr/>
          </p:nvSpPr>
          <p:spPr>
            <a:xfrm>
              <a:off x="13064723" y="29360782"/>
              <a:ext cx="448587" cy="426670"/>
            </a:xfrm>
            <a:prstGeom prst="ellipse">
              <a:avLst/>
            </a:prstGeom>
            <a:solidFill>
              <a:srgbClr val="1444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5740" tIns="102870" rIns="205740" bIns="1028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/>
            </a:p>
          </p:txBody>
        </p:sp>
        <p:sp>
          <p:nvSpPr>
            <p:cNvPr id="216" name="Ellipse 52">
              <a:extLst>
                <a:ext uri="{FF2B5EF4-FFF2-40B4-BE49-F238E27FC236}">
                  <a16:creationId xmlns:a16="http://schemas.microsoft.com/office/drawing/2014/main" id="{D580A678-40E4-0ACC-520A-658153EB5BF8}"/>
                </a:ext>
              </a:extLst>
            </p:cNvPr>
            <p:cNvSpPr/>
            <p:nvPr/>
          </p:nvSpPr>
          <p:spPr>
            <a:xfrm>
              <a:off x="13064723" y="30396793"/>
              <a:ext cx="448587" cy="426670"/>
            </a:xfrm>
            <a:prstGeom prst="ellipse">
              <a:avLst/>
            </a:prstGeom>
            <a:solidFill>
              <a:srgbClr val="1444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5740" tIns="102870" rIns="205740" bIns="1028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/>
            </a:p>
          </p:txBody>
        </p:sp>
        <p:sp>
          <p:nvSpPr>
            <p:cNvPr id="217" name="Ellipse 53">
              <a:extLst>
                <a:ext uri="{FF2B5EF4-FFF2-40B4-BE49-F238E27FC236}">
                  <a16:creationId xmlns:a16="http://schemas.microsoft.com/office/drawing/2014/main" id="{EA614214-D0F3-47B9-ED8E-65C54EBF89DF}"/>
                </a:ext>
              </a:extLst>
            </p:cNvPr>
            <p:cNvSpPr/>
            <p:nvPr/>
          </p:nvSpPr>
          <p:spPr>
            <a:xfrm>
              <a:off x="13064723" y="31432803"/>
              <a:ext cx="448587" cy="426670"/>
            </a:xfrm>
            <a:prstGeom prst="ellipse">
              <a:avLst/>
            </a:prstGeom>
            <a:solidFill>
              <a:srgbClr val="1444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5740" tIns="102870" rIns="205740" bIns="1028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/>
            </a:p>
          </p:txBody>
        </p:sp>
        <p:sp>
          <p:nvSpPr>
            <p:cNvPr id="218" name="Ellipse 54">
              <a:extLst>
                <a:ext uri="{FF2B5EF4-FFF2-40B4-BE49-F238E27FC236}">
                  <a16:creationId xmlns:a16="http://schemas.microsoft.com/office/drawing/2014/main" id="{96A610E8-360C-244B-3C99-015BD76587F3}"/>
                </a:ext>
              </a:extLst>
            </p:cNvPr>
            <p:cNvSpPr/>
            <p:nvPr/>
          </p:nvSpPr>
          <p:spPr>
            <a:xfrm>
              <a:off x="14608815" y="28867832"/>
              <a:ext cx="448587" cy="42667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5740" tIns="102870" rIns="205740" bIns="1028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>
                <a:solidFill>
                  <a:schemeClr val="tx1"/>
                </a:solidFill>
              </a:endParaRPr>
            </a:p>
          </p:txBody>
        </p:sp>
        <p:sp>
          <p:nvSpPr>
            <p:cNvPr id="219" name="Ellipse 55">
              <a:extLst>
                <a:ext uri="{FF2B5EF4-FFF2-40B4-BE49-F238E27FC236}">
                  <a16:creationId xmlns:a16="http://schemas.microsoft.com/office/drawing/2014/main" id="{609FD74D-E632-43B0-F64E-A574F85B74BE}"/>
                </a:ext>
              </a:extLst>
            </p:cNvPr>
            <p:cNvSpPr/>
            <p:nvPr/>
          </p:nvSpPr>
          <p:spPr>
            <a:xfrm>
              <a:off x="14608815" y="29807612"/>
              <a:ext cx="448587" cy="42667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5740" tIns="102870" rIns="205740" bIns="1028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>
                <a:solidFill>
                  <a:schemeClr val="tx1"/>
                </a:solidFill>
              </a:endParaRPr>
            </a:p>
          </p:txBody>
        </p:sp>
        <p:sp>
          <p:nvSpPr>
            <p:cNvPr id="220" name="Ellipse 56">
              <a:extLst>
                <a:ext uri="{FF2B5EF4-FFF2-40B4-BE49-F238E27FC236}">
                  <a16:creationId xmlns:a16="http://schemas.microsoft.com/office/drawing/2014/main" id="{0C291D59-55DF-18C1-A458-C36F5E4D4DF3}"/>
                </a:ext>
              </a:extLst>
            </p:cNvPr>
            <p:cNvSpPr/>
            <p:nvPr/>
          </p:nvSpPr>
          <p:spPr>
            <a:xfrm>
              <a:off x="14608815" y="30747392"/>
              <a:ext cx="448587" cy="42667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5740" tIns="102870" rIns="205740" bIns="1028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>
                <a:solidFill>
                  <a:schemeClr val="tx1"/>
                </a:solidFill>
              </a:endParaRPr>
            </a:p>
          </p:txBody>
        </p:sp>
        <p:sp>
          <p:nvSpPr>
            <p:cNvPr id="221" name="Ellipse 57">
              <a:extLst>
                <a:ext uri="{FF2B5EF4-FFF2-40B4-BE49-F238E27FC236}">
                  <a16:creationId xmlns:a16="http://schemas.microsoft.com/office/drawing/2014/main" id="{E94F4BDC-4831-A368-A1F8-27D1E14F389A}"/>
                </a:ext>
              </a:extLst>
            </p:cNvPr>
            <p:cNvSpPr/>
            <p:nvPr/>
          </p:nvSpPr>
          <p:spPr>
            <a:xfrm>
              <a:off x="14608815" y="31687174"/>
              <a:ext cx="448587" cy="42667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5740" tIns="102870" rIns="205740" bIns="1028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>
                <a:solidFill>
                  <a:schemeClr val="tx1"/>
                </a:solidFill>
              </a:endParaRPr>
            </a:p>
          </p:txBody>
        </p:sp>
        <p:sp>
          <p:nvSpPr>
            <p:cNvPr id="222" name="Ellipse 58">
              <a:extLst>
                <a:ext uri="{FF2B5EF4-FFF2-40B4-BE49-F238E27FC236}">
                  <a16:creationId xmlns:a16="http://schemas.microsoft.com/office/drawing/2014/main" id="{0EBFE4FD-8D86-C1E5-D795-490C1D513DCE}"/>
                </a:ext>
              </a:extLst>
            </p:cNvPr>
            <p:cNvSpPr/>
            <p:nvPr/>
          </p:nvSpPr>
          <p:spPr>
            <a:xfrm>
              <a:off x="16238554" y="28867830"/>
              <a:ext cx="448587" cy="42667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5740" tIns="102870" rIns="205740" bIns="1028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>
                <a:solidFill>
                  <a:schemeClr val="tx1"/>
                </a:solidFill>
              </a:endParaRPr>
            </a:p>
          </p:txBody>
        </p:sp>
        <p:sp>
          <p:nvSpPr>
            <p:cNvPr id="223" name="Ellipse 59">
              <a:extLst>
                <a:ext uri="{FF2B5EF4-FFF2-40B4-BE49-F238E27FC236}">
                  <a16:creationId xmlns:a16="http://schemas.microsoft.com/office/drawing/2014/main" id="{472016C7-4F72-F2A1-191F-14A9F34F2842}"/>
                </a:ext>
              </a:extLst>
            </p:cNvPr>
            <p:cNvSpPr/>
            <p:nvPr/>
          </p:nvSpPr>
          <p:spPr>
            <a:xfrm>
              <a:off x="16238554" y="29807612"/>
              <a:ext cx="448587" cy="42667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5740" tIns="102870" rIns="205740" bIns="1028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>
                <a:solidFill>
                  <a:schemeClr val="tx1"/>
                </a:solidFill>
              </a:endParaRPr>
            </a:p>
          </p:txBody>
        </p:sp>
        <p:sp>
          <p:nvSpPr>
            <p:cNvPr id="224" name="Ellipse 60">
              <a:extLst>
                <a:ext uri="{FF2B5EF4-FFF2-40B4-BE49-F238E27FC236}">
                  <a16:creationId xmlns:a16="http://schemas.microsoft.com/office/drawing/2014/main" id="{F49769B8-E3EA-B5DF-F6DC-7424973AC785}"/>
                </a:ext>
              </a:extLst>
            </p:cNvPr>
            <p:cNvSpPr/>
            <p:nvPr/>
          </p:nvSpPr>
          <p:spPr>
            <a:xfrm>
              <a:off x="16238554" y="30747390"/>
              <a:ext cx="448587" cy="42667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5740" tIns="102870" rIns="205740" bIns="1028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>
                <a:solidFill>
                  <a:schemeClr val="tx1"/>
                </a:solidFill>
              </a:endParaRPr>
            </a:p>
          </p:txBody>
        </p:sp>
        <p:sp>
          <p:nvSpPr>
            <p:cNvPr id="225" name="Ellipse 67">
              <a:extLst>
                <a:ext uri="{FF2B5EF4-FFF2-40B4-BE49-F238E27FC236}">
                  <a16:creationId xmlns:a16="http://schemas.microsoft.com/office/drawing/2014/main" id="{7A9B18E8-AEE9-D48C-1B85-E236A3EC6598}"/>
                </a:ext>
              </a:extLst>
            </p:cNvPr>
            <p:cNvSpPr/>
            <p:nvPr/>
          </p:nvSpPr>
          <p:spPr>
            <a:xfrm>
              <a:off x="16238554" y="31687174"/>
              <a:ext cx="448587" cy="42667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5740" tIns="102870" rIns="205740" bIns="1028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>
                <a:solidFill>
                  <a:schemeClr val="tx1"/>
                </a:solidFill>
              </a:endParaRPr>
            </a:p>
          </p:txBody>
        </p:sp>
        <p:sp>
          <p:nvSpPr>
            <p:cNvPr id="226" name="Ellipse 68">
              <a:extLst>
                <a:ext uri="{FF2B5EF4-FFF2-40B4-BE49-F238E27FC236}">
                  <a16:creationId xmlns:a16="http://schemas.microsoft.com/office/drawing/2014/main" id="{BE4961AB-D547-01E0-7B9C-59FA68AB378B}"/>
                </a:ext>
              </a:extLst>
            </p:cNvPr>
            <p:cNvSpPr/>
            <p:nvPr/>
          </p:nvSpPr>
          <p:spPr>
            <a:xfrm>
              <a:off x="17300158" y="30396793"/>
              <a:ext cx="448587" cy="426670"/>
            </a:xfrm>
            <a:prstGeom prst="ellipse">
              <a:avLst/>
            </a:prstGeom>
            <a:solidFill>
              <a:srgbClr val="E4F2F4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5740" tIns="102870" rIns="205740" bIns="1028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/>
            </a:p>
          </p:txBody>
        </p:sp>
        <p:cxnSp>
          <p:nvCxnSpPr>
            <p:cNvPr id="227" name="Gerader Verbinder 69">
              <a:extLst>
                <a:ext uri="{FF2B5EF4-FFF2-40B4-BE49-F238E27FC236}">
                  <a16:creationId xmlns:a16="http://schemas.microsoft.com/office/drawing/2014/main" id="{603CBD86-3182-F087-1E70-421CDE405E18}"/>
                </a:ext>
              </a:extLst>
            </p:cNvPr>
            <p:cNvCxnSpPr>
              <a:cxnSpLocks/>
              <a:stCxn id="215" idx="6"/>
              <a:endCxn id="218" idx="2"/>
            </p:cNvCxnSpPr>
            <p:nvPr/>
          </p:nvCxnSpPr>
          <p:spPr>
            <a:xfrm flipV="1">
              <a:off x="13513310" y="29081168"/>
              <a:ext cx="1095505" cy="492950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Gerader Verbinder 70">
              <a:extLst>
                <a:ext uri="{FF2B5EF4-FFF2-40B4-BE49-F238E27FC236}">
                  <a16:creationId xmlns:a16="http://schemas.microsoft.com/office/drawing/2014/main" id="{462D799F-6D97-65A0-8561-A0C947039E37}"/>
                </a:ext>
              </a:extLst>
            </p:cNvPr>
            <p:cNvCxnSpPr>
              <a:cxnSpLocks/>
              <a:stCxn id="215" idx="6"/>
              <a:endCxn id="219" idx="2"/>
            </p:cNvCxnSpPr>
            <p:nvPr/>
          </p:nvCxnSpPr>
          <p:spPr>
            <a:xfrm>
              <a:off x="13513310" y="29574118"/>
              <a:ext cx="1095505" cy="446830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Gerader Verbinder 71">
              <a:extLst>
                <a:ext uri="{FF2B5EF4-FFF2-40B4-BE49-F238E27FC236}">
                  <a16:creationId xmlns:a16="http://schemas.microsoft.com/office/drawing/2014/main" id="{2D18AC85-2047-E5E9-B832-F97408CE196C}"/>
                </a:ext>
              </a:extLst>
            </p:cNvPr>
            <p:cNvCxnSpPr>
              <a:cxnSpLocks/>
              <a:stCxn id="215" idx="6"/>
              <a:endCxn id="220" idx="2"/>
            </p:cNvCxnSpPr>
            <p:nvPr/>
          </p:nvCxnSpPr>
          <p:spPr>
            <a:xfrm>
              <a:off x="13513310" y="29574118"/>
              <a:ext cx="1095505" cy="1386610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r Verbinder 72">
              <a:extLst>
                <a:ext uri="{FF2B5EF4-FFF2-40B4-BE49-F238E27FC236}">
                  <a16:creationId xmlns:a16="http://schemas.microsoft.com/office/drawing/2014/main" id="{FE711776-5D84-A5E5-E505-415F3CDBD1F1}"/>
                </a:ext>
              </a:extLst>
            </p:cNvPr>
            <p:cNvCxnSpPr>
              <a:cxnSpLocks/>
              <a:stCxn id="215" idx="6"/>
              <a:endCxn id="221" idx="2"/>
            </p:cNvCxnSpPr>
            <p:nvPr/>
          </p:nvCxnSpPr>
          <p:spPr>
            <a:xfrm>
              <a:off x="13513310" y="29574118"/>
              <a:ext cx="1095505" cy="2326392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Gerader Verbinder 73">
              <a:extLst>
                <a:ext uri="{FF2B5EF4-FFF2-40B4-BE49-F238E27FC236}">
                  <a16:creationId xmlns:a16="http://schemas.microsoft.com/office/drawing/2014/main" id="{6B0E0E16-D12A-BB87-BB35-8A8CF0576416}"/>
                </a:ext>
              </a:extLst>
            </p:cNvPr>
            <p:cNvCxnSpPr>
              <a:cxnSpLocks/>
              <a:stCxn id="216" idx="6"/>
              <a:endCxn id="218" idx="2"/>
            </p:cNvCxnSpPr>
            <p:nvPr/>
          </p:nvCxnSpPr>
          <p:spPr>
            <a:xfrm flipV="1">
              <a:off x="13513310" y="29081168"/>
              <a:ext cx="1095505" cy="1528960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Gerader Verbinder 74">
              <a:extLst>
                <a:ext uri="{FF2B5EF4-FFF2-40B4-BE49-F238E27FC236}">
                  <a16:creationId xmlns:a16="http://schemas.microsoft.com/office/drawing/2014/main" id="{7B75032D-A130-3DFD-0F5A-6ABC40A584AE}"/>
                </a:ext>
              </a:extLst>
            </p:cNvPr>
            <p:cNvCxnSpPr>
              <a:cxnSpLocks/>
              <a:stCxn id="216" idx="6"/>
              <a:endCxn id="219" idx="2"/>
            </p:cNvCxnSpPr>
            <p:nvPr/>
          </p:nvCxnSpPr>
          <p:spPr>
            <a:xfrm flipV="1">
              <a:off x="13513310" y="30020948"/>
              <a:ext cx="1095505" cy="589180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Gerader Verbinder 75">
              <a:extLst>
                <a:ext uri="{FF2B5EF4-FFF2-40B4-BE49-F238E27FC236}">
                  <a16:creationId xmlns:a16="http://schemas.microsoft.com/office/drawing/2014/main" id="{FD91A217-B2A2-D9D5-D09A-AB19DD270F4C}"/>
                </a:ext>
              </a:extLst>
            </p:cNvPr>
            <p:cNvCxnSpPr>
              <a:cxnSpLocks/>
              <a:stCxn id="216" idx="6"/>
              <a:endCxn id="220" idx="2"/>
            </p:cNvCxnSpPr>
            <p:nvPr/>
          </p:nvCxnSpPr>
          <p:spPr>
            <a:xfrm>
              <a:off x="13513310" y="30610129"/>
              <a:ext cx="1095505" cy="350599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Gerader Verbinder 76">
              <a:extLst>
                <a:ext uri="{FF2B5EF4-FFF2-40B4-BE49-F238E27FC236}">
                  <a16:creationId xmlns:a16="http://schemas.microsoft.com/office/drawing/2014/main" id="{5B0262C3-FAC5-782A-6737-08E9258AFB84}"/>
                </a:ext>
              </a:extLst>
            </p:cNvPr>
            <p:cNvCxnSpPr>
              <a:cxnSpLocks/>
              <a:stCxn id="216" idx="6"/>
              <a:endCxn id="221" idx="2"/>
            </p:cNvCxnSpPr>
            <p:nvPr/>
          </p:nvCxnSpPr>
          <p:spPr>
            <a:xfrm>
              <a:off x="13513310" y="30610129"/>
              <a:ext cx="1095505" cy="1290382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Gerader Verbinder 77">
              <a:extLst>
                <a:ext uri="{FF2B5EF4-FFF2-40B4-BE49-F238E27FC236}">
                  <a16:creationId xmlns:a16="http://schemas.microsoft.com/office/drawing/2014/main" id="{C56FE04E-936A-C0A2-DE49-4E7349E0BE6D}"/>
                </a:ext>
              </a:extLst>
            </p:cNvPr>
            <p:cNvCxnSpPr>
              <a:cxnSpLocks/>
              <a:stCxn id="217" idx="6"/>
              <a:endCxn id="218" idx="2"/>
            </p:cNvCxnSpPr>
            <p:nvPr/>
          </p:nvCxnSpPr>
          <p:spPr>
            <a:xfrm flipV="1">
              <a:off x="13513310" y="29081168"/>
              <a:ext cx="1095505" cy="2564971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Gerader Verbinder 78">
              <a:extLst>
                <a:ext uri="{FF2B5EF4-FFF2-40B4-BE49-F238E27FC236}">
                  <a16:creationId xmlns:a16="http://schemas.microsoft.com/office/drawing/2014/main" id="{6911ED94-C37B-C759-89AA-CDA7458F590D}"/>
                </a:ext>
              </a:extLst>
            </p:cNvPr>
            <p:cNvCxnSpPr>
              <a:cxnSpLocks/>
              <a:stCxn id="217" idx="6"/>
              <a:endCxn id="219" idx="2"/>
            </p:cNvCxnSpPr>
            <p:nvPr/>
          </p:nvCxnSpPr>
          <p:spPr>
            <a:xfrm flipV="1">
              <a:off x="13513310" y="30020948"/>
              <a:ext cx="1095505" cy="1625191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Gerader Verbinder 79">
              <a:extLst>
                <a:ext uri="{FF2B5EF4-FFF2-40B4-BE49-F238E27FC236}">
                  <a16:creationId xmlns:a16="http://schemas.microsoft.com/office/drawing/2014/main" id="{84A6667F-8BBC-BA10-E01A-02B3F33492B1}"/>
                </a:ext>
              </a:extLst>
            </p:cNvPr>
            <p:cNvCxnSpPr>
              <a:cxnSpLocks/>
              <a:stCxn id="217" idx="6"/>
              <a:endCxn id="220" idx="2"/>
            </p:cNvCxnSpPr>
            <p:nvPr/>
          </p:nvCxnSpPr>
          <p:spPr>
            <a:xfrm flipV="1">
              <a:off x="13513310" y="30960728"/>
              <a:ext cx="1095505" cy="685411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Gerader Verbinder 80">
              <a:extLst>
                <a:ext uri="{FF2B5EF4-FFF2-40B4-BE49-F238E27FC236}">
                  <a16:creationId xmlns:a16="http://schemas.microsoft.com/office/drawing/2014/main" id="{80C5041E-A21F-1FF7-61F7-865B0B835972}"/>
                </a:ext>
              </a:extLst>
            </p:cNvPr>
            <p:cNvCxnSpPr>
              <a:cxnSpLocks/>
              <a:stCxn id="217" idx="6"/>
              <a:endCxn id="221" idx="2"/>
            </p:cNvCxnSpPr>
            <p:nvPr/>
          </p:nvCxnSpPr>
          <p:spPr>
            <a:xfrm>
              <a:off x="13513310" y="31646139"/>
              <a:ext cx="1095505" cy="254371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Gerader Verbinder 81">
              <a:extLst>
                <a:ext uri="{FF2B5EF4-FFF2-40B4-BE49-F238E27FC236}">
                  <a16:creationId xmlns:a16="http://schemas.microsoft.com/office/drawing/2014/main" id="{621878FF-E93D-473B-A7C6-6E185F944C4D}"/>
                </a:ext>
              </a:extLst>
            </p:cNvPr>
            <p:cNvCxnSpPr>
              <a:cxnSpLocks/>
              <a:stCxn id="222" idx="2"/>
              <a:endCxn id="218" idx="6"/>
            </p:cNvCxnSpPr>
            <p:nvPr/>
          </p:nvCxnSpPr>
          <p:spPr>
            <a:xfrm flipH="1">
              <a:off x="15057402" y="29081166"/>
              <a:ext cx="1181151" cy="2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Gerader Verbinder 82">
              <a:extLst>
                <a:ext uri="{FF2B5EF4-FFF2-40B4-BE49-F238E27FC236}">
                  <a16:creationId xmlns:a16="http://schemas.microsoft.com/office/drawing/2014/main" id="{4B24F579-198C-2A2C-513C-7031AF667757}"/>
                </a:ext>
              </a:extLst>
            </p:cNvPr>
            <p:cNvCxnSpPr>
              <a:cxnSpLocks/>
              <a:stCxn id="223" idx="2"/>
              <a:endCxn id="218" idx="6"/>
            </p:cNvCxnSpPr>
            <p:nvPr/>
          </p:nvCxnSpPr>
          <p:spPr>
            <a:xfrm flipH="1" flipV="1">
              <a:off x="15057402" y="29081168"/>
              <a:ext cx="1181151" cy="939780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Gerader Verbinder 83">
              <a:extLst>
                <a:ext uri="{FF2B5EF4-FFF2-40B4-BE49-F238E27FC236}">
                  <a16:creationId xmlns:a16="http://schemas.microsoft.com/office/drawing/2014/main" id="{22B01457-04D7-B86D-1E96-844030B31C9C}"/>
                </a:ext>
              </a:extLst>
            </p:cNvPr>
            <p:cNvCxnSpPr>
              <a:cxnSpLocks/>
              <a:stCxn id="224" idx="2"/>
              <a:endCxn id="218" idx="6"/>
            </p:cNvCxnSpPr>
            <p:nvPr/>
          </p:nvCxnSpPr>
          <p:spPr>
            <a:xfrm flipH="1" flipV="1">
              <a:off x="15057402" y="29081168"/>
              <a:ext cx="1181151" cy="1879558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Gerader Verbinder 84">
              <a:extLst>
                <a:ext uri="{FF2B5EF4-FFF2-40B4-BE49-F238E27FC236}">
                  <a16:creationId xmlns:a16="http://schemas.microsoft.com/office/drawing/2014/main" id="{BD40F353-E507-CA0D-EEC9-CE9C54EFD838}"/>
                </a:ext>
              </a:extLst>
            </p:cNvPr>
            <p:cNvCxnSpPr>
              <a:cxnSpLocks/>
              <a:stCxn id="225" idx="2"/>
              <a:endCxn id="218" idx="6"/>
            </p:cNvCxnSpPr>
            <p:nvPr/>
          </p:nvCxnSpPr>
          <p:spPr>
            <a:xfrm flipH="1" flipV="1">
              <a:off x="15057402" y="29081168"/>
              <a:ext cx="1181151" cy="2819342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Gerader Verbinder 85">
              <a:extLst>
                <a:ext uri="{FF2B5EF4-FFF2-40B4-BE49-F238E27FC236}">
                  <a16:creationId xmlns:a16="http://schemas.microsoft.com/office/drawing/2014/main" id="{E6A19079-9FBC-882A-7644-E66A54C49399}"/>
                </a:ext>
              </a:extLst>
            </p:cNvPr>
            <p:cNvCxnSpPr>
              <a:cxnSpLocks/>
              <a:stCxn id="223" idx="2"/>
              <a:endCxn id="219" idx="6"/>
            </p:cNvCxnSpPr>
            <p:nvPr/>
          </p:nvCxnSpPr>
          <p:spPr>
            <a:xfrm flipH="1">
              <a:off x="15057402" y="30020948"/>
              <a:ext cx="1181151" cy="0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Gerader Verbinder 86">
              <a:extLst>
                <a:ext uri="{FF2B5EF4-FFF2-40B4-BE49-F238E27FC236}">
                  <a16:creationId xmlns:a16="http://schemas.microsoft.com/office/drawing/2014/main" id="{56D39001-7B94-6FED-9F45-C3164805A348}"/>
                </a:ext>
              </a:extLst>
            </p:cNvPr>
            <p:cNvCxnSpPr>
              <a:cxnSpLocks/>
              <a:stCxn id="222" idx="2"/>
              <a:endCxn id="219" idx="6"/>
            </p:cNvCxnSpPr>
            <p:nvPr/>
          </p:nvCxnSpPr>
          <p:spPr>
            <a:xfrm flipH="1">
              <a:off x="15057402" y="29081166"/>
              <a:ext cx="1181151" cy="939782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Gerader Verbinder 87">
              <a:extLst>
                <a:ext uri="{FF2B5EF4-FFF2-40B4-BE49-F238E27FC236}">
                  <a16:creationId xmlns:a16="http://schemas.microsoft.com/office/drawing/2014/main" id="{107FB5C9-6CF1-FF17-3B82-E4DA8F9DA00B}"/>
                </a:ext>
              </a:extLst>
            </p:cNvPr>
            <p:cNvCxnSpPr>
              <a:cxnSpLocks/>
              <a:stCxn id="224" idx="2"/>
              <a:endCxn id="219" idx="6"/>
            </p:cNvCxnSpPr>
            <p:nvPr/>
          </p:nvCxnSpPr>
          <p:spPr>
            <a:xfrm flipH="1" flipV="1">
              <a:off x="15057402" y="30020948"/>
              <a:ext cx="1181151" cy="939778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Gerader Verbinder 88">
              <a:extLst>
                <a:ext uri="{FF2B5EF4-FFF2-40B4-BE49-F238E27FC236}">
                  <a16:creationId xmlns:a16="http://schemas.microsoft.com/office/drawing/2014/main" id="{6536A415-E763-A426-9CCB-AC877DF2C483}"/>
                </a:ext>
              </a:extLst>
            </p:cNvPr>
            <p:cNvCxnSpPr>
              <a:cxnSpLocks/>
              <a:stCxn id="225" idx="2"/>
              <a:endCxn id="219" idx="6"/>
            </p:cNvCxnSpPr>
            <p:nvPr/>
          </p:nvCxnSpPr>
          <p:spPr>
            <a:xfrm flipH="1" flipV="1">
              <a:off x="15057402" y="30020948"/>
              <a:ext cx="1181151" cy="1879562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Gerader Verbinder 89">
              <a:extLst>
                <a:ext uri="{FF2B5EF4-FFF2-40B4-BE49-F238E27FC236}">
                  <a16:creationId xmlns:a16="http://schemas.microsoft.com/office/drawing/2014/main" id="{4D50C7A8-C050-05DC-72C5-7D244CC71900}"/>
                </a:ext>
              </a:extLst>
            </p:cNvPr>
            <p:cNvCxnSpPr>
              <a:cxnSpLocks/>
              <a:stCxn id="222" idx="2"/>
              <a:endCxn id="220" idx="6"/>
            </p:cNvCxnSpPr>
            <p:nvPr/>
          </p:nvCxnSpPr>
          <p:spPr>
            <a:xfrm flipH="1">
              <a:off x="15057402" y="29081166"/>
              <a:ext cx="1181151" cy="1879562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Gerader Verbinder 90">
              <a:extLst>
                <a:ext uri="{FF2B5EF4-FFF2-40B4-BE49-F238E27FC236}">
                  <a16:creationId xmlns:a16="http://schemas.microsoft.com/office/drawing/2014/main" id="{1B092D86-B4CF-394C-07C1-9329DE6E6C03}"/>
                </a:ext>
              </a:extLst>
            </p:cNvPr>
            <p:cNvCxnSpPr>
              <a:cxnSpLocks/>
              <a:stCxn id="223" idx="2"/>
              <a:endCxn id="220" idx="6"/>
            </p:cNvCxnSpPr>
            <p:nvPr/>
          </p:nvCxnSpPr>
          <p:spPr>
            <a:xfrm flipH="1">
              <a:off x="15057402" y="30020948"/>
              <a:ext cx="1181151" cy="939780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Gerader Verbinder 91">
              <a:extLst>
                <a:ext uri="{FF2B5EF4-FFF2-40B4-BE49-F238E27FC236}">
                  <a16:creationId xmlns:a16="http://schemas.microsoft.com/office/drawing/2014/main" id="{CF586CFB-BCDA-8F3C-8D93-631D7B076DE8}"/>
                </a:ext>
              </a:extLst>
            </p:cNvPr>
            <p:cNvCxnSpPr>
              <a:cxnSpLocks/>
              <a:stCxn id="224" idx="2"/>
              <a:endCxn id="220" idx="6"/>
            </p:cNvCxnSpPr>
            <p:nvPr/>
          </p:nvCxnSpPr>
          <p:spPr>
            <a:xfrm flipH="1">
              <a:off x="15057402" y="30960726"/>
              <a:ext cx="1181151" cy="2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Gerader Verbinder 92">
              <a:extLst>
                <a:ext uri="{FF2B5EF4-FFF2-40B4-BE49-F238E27FC236}">
                  <a16:creationId xmlns:a16="http://schemas.microsoft.com/office/drawing/2014/main" id="{2440484D-3139-327A-619E-5B296997C63B}"/>
                </a:ext>
              </a:extLst>
            </p:cNvPr>
            <p:cNvCxnSpPr>
              <a:cxnSpLocks/>
              <a:stCxn id="225" idx="2"/>
              <a:endCxn id="220" idx="6"/>
            </p:cNvCxnSpPr>
            <p:nvPr/>
          </p:nvCxnSpPr>
          <p:spPr>
            <a:xfrm flipH="1" flipV="1">
              <a:off x="15057402" y="30960728"/>
              <a:ext cx="1181151" cy="939782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Gerader Verbinder 93">
              <a:extLst>
                <a:ext uri="{FF2B5EF4-FFF2-40B4-BE49-F238E27FC236}">
                  <a16:creationId xmlns:a16="http://schemas.microsoft.com/office/drawing/2014/main" id="{49A71031-44BD-13F1-5728-310A240C75A1}"/>
                </a:ext>
              </a:extLst>
            </p:cNvPr>
            <p:cNvCxnSpPr>
              <a:cxnSpLocks/>
              <a:stCxn id="222" idx="2"/>
              <a:endCxn id="221" idx="6"/>
            </p:cNvCxnSpPr>
            <p:nvPr/>
          </p:nvCxnSpPr>
          <p:spPr>
            <a:xfrm flipH="1">
              <a:off x="15057402" y="29081166"/>
              <a:ext cx="1181151" cy="2819344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Gerader Verbinder 94">
              <a:extLst>
                <a:ext uri="{FF2B5EF4-FFF2-40B4-BE49-F238E27FC236}">
                  <a16:creationId xmlns:a16="http://schemas.microsoft.com/office/drawing/2014/main" id="{AE15E6F5-2367-809B-838E-BC7C0FB2CAD9}"/>
                </a:ext>
              </a:extLst>
            </p:cNvPr>
            <p:cNvCxnSpPr>
              <a:cxnSpLocks/>
              <a:stCxn id="223" idx="2"/>
              <a:endCxn id="221" idx="6"/>
            </p:cNvCxnSpPr>
            <p:nvPr/>
          </p:nvCxnSpPr>
          <p:spPr>
            <a:xfrm flipH="1">
              <a:off x="15057402" y="30020948"/>
              <a:ext cx="1181151" cy="1879562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Gerader Verbinder 95">
              <a:extLst>
                <a:ext uri="{FF2B5EF4-FFF2-40B4-BE49-F238E27FC236}">
                  <a16:creationId xmlns:a16="http://schemas.microsoft.com/office/drawing/2014/main" id="{D55DB074-0CDD-8139-9A96-D0737007EC49}"/>
                </a:ext>
              </a:extLst>
            </p:cNvPr>
            <p:cNvCxnSpPr>
              <a:cxnSpLocks/>
              <a:stCxn id="224" idx="2"/>
              <a:endCxn id="221" idx="6"/>
            </p:cNvCxnSpPr>
            <p:nvPr/>
          </p:nvCxnSpPr>
          <p:spPr>
            <a:xfrm flipH="1">
              <a:off x="15057402" y="30960726"/>
              <a:ext cx="1181151" cy="939784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Gerader Verbinder 96">
              <a:extLst>
                <a:ext uri="{FF2B5EF4-FFF2-40B4-BE49-F238E27FC236}">
                  <a16:creationId xmlns:a16="http://schemas.microsoft.com/office/drawing/2014/main" id="{5E71EDE0-C344-282C-BB5E-9C500DC2C32B}"/>
                </a:ext>
              </a:extLst>
            </p:cNvPr>
            <p:cNvCxnSpPr>
              <a:cxnSpLocks/>
              <a:stCxn id="225" idx="2"/>
              <a:endCxn id="221" idx="6"/>
            </p:cNvCxnSpPr>
            <p:nvPr/>
          </p:nvCxnSpPr>
          <p:spPr>
            <a:xfrm flipH="1">
              <a:off x="15057402" y="31900510"/>
              <a:ext cx="1181151" cy="0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Gerader Verbinder 97">
              <a:extLst>
                <a:ext uri="{FF2B5EF4-FFF2-40B4-BE49-F238E27FC236}">
                  <a16:creationId xmlns:a16="http://schemas.microsoft.com/office/drawing/2014/main" id="{2FAD4D93-2A51-0550-C041-7422B1126336}"/>
                </a:ext>
              </a:extLst>
            </p:cNvPr>
            <p:cNvCxnSpPr>
              <a:cxnSpLocks/>
              <a:stCxn id="226" idx="2"/>
              <a:endCxn id="222" idx="6"/>
            </p:cNvCxnSpPr>
            <p:nvPr/>
          </p:nvCxnSpPr>
          <p:spPr>
            <a:xfrm flipH="1" flipV="1">
              <a:off x="16687141" y="29081166"/>
              <a:ext cx="613017" cy="1528963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Gerader Verbinder 98">
              <a:extLst>
                <a:ext uri="{FF2B5EF4-FFF2-40B4-BE49-F238E27FC236}">
                  <a16:creationId xmlns:a16="http://schemas.microsoft.com/office/drawing/2014/main" id="{88DCAD9E-F450-C7A6-E6A2-D998E82FFD0B}"/>
                </a:ext>
              </a:extLst>
            </p:cNvPr>
            <p:cNvCxnSpPr>
              <a:cxnSpLocks/>
              <a:stCxn id="223" idx="6"/>
              <a:endCxn id="226" idx="2"/>
            </p:cNvCxnSpPr>
            <p:nvPr/>
          </p:nvCxnSpPr>
          <p:spPr>
            <a:xfrm>
              <a:off x="16687141" y="30020948"/>
              <a:ext cx="613017" cy="589180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Gerader Verbinder 99">
              <a:extLst>
                <a:ext uri="{FF2B5EF4-FFF2-40B4-BE49-F238E27FC236}">
                  <a16:creationId xmlns:a16="http://schemas.microsoft.com/office/drawing/2014/main" id="{4A7B4DF3-E0B2-2E6A-79E2-CBE6959E7312}"/>
                </a:ext>
              </a:extLst>
            </p:cNvPr>
            <p:cNvCxnSpPr>
              <a:cxnSpLocks/>
              <a:stCxn id="226" idx="2"/>
              <a:endCxn id="224" idx="6"/>
            </p:cNvCxnSpPr>
            <p:nvPr/>
          </p:nvCxnSpPr>
          <p:spPr>
            <a:xfrm flipH="1">
              <a:off x="16687141" y="30610129"/>
              <a:ext cx="613017" cy="350597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Gerader Verbinder 100">
              <a:extLst>
                <a:ext uri="{FF2B5EF4-FFF2-40B4-BE49-F238E27FC236}">
                  <a16:creationId xmlns:a16="http://schemas.microsoft.com/office/drawing/2014/main" id="{D08C9FE6-2F09-68B3-0ED3-443460C1A2FC}"/>
                </a:ext>
              </a:extLst>
            </p:cNvPr>
            <p:cNvCxnSpPr>
              <a:cxnSpLocks/>
              <a:stCxn id="226" idx="2"/>
              <a:endCxn id="225" idx="6"/>
            </p:cNvCxnSpPr>
            <p:nvPr/>
          </p:nvCxnSpPr>
          <p:spPr>
            <a:xfrm flipH="1">
              <a:off x="16687141" y="30610129"/>
              <a:ext cx="613017" cy="1290382"/>
            </a:xfrm>
            <a:prstGeom prst="line">
              <a:avLst/>
            </a:prstGeom>
            <a:ln w="14288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4" name="Textfeld 193">
                  <a:extLst>
                    <a:ext uri="{FF2B5EF4-FFF2-40B4-BE49-F238E27FC236}">
                      <a16:creationId xmlns:a16="http://schemas.microsoft.com/office/drawing/2014/main" id="{245251CE-DD5A-D2BC-2360-3557F778A166}"/>
                    </a:ext>
                  </a:extLst>
                </p:cNvPr>
                <p:cNvSpPr txBox="1"/>
                <p:nvPr/>
              </p:nvSpPr>
              <p:spPr>
                <a:xfrm>
                  <a:off x="13050434" y="29417526"/>
                  <a:ext cx="580236" cy="30777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𝟏</m:t>
                            </m:r>
                          </m:sub>
                        </m:sSub>
                      </m:oMath>
                    </m:oMathPara>
                  </a14:m>
                  <a:endParaRPr lang="de-DE" sz="2000" b="1" kern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94" name="Textfeld 193">
                  <a:extLst>
                    <a:ext uri="{FF2B5EF4-FFF2-40B4-BE49-F238E27FC236}">
                      <a16:creationId xmlns:a16="http://schemas.microsoft.com/office/drawing/2014/main" id="{245251CE-DD5A-D2BC-2360-3557F778A16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3050434" y="29417526"/>
                  <a:ext cx="580236" cy="307778"/>
                </a:xfrm>
                <a:prstGeom prst="rect">
                  <a:avLst/>
                </a:prstGeom>
                <a:blipFill>
                  <a:blip r:embed="rId14"/>
                  <a:stretch>
                    <a:fillRect b="-19608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5" name="Textfeld 194">
                  <a:extLst>
                    <a:ext uri="{FF2B5EF4-FFF2-40B4-BE49-F238E27FC236}">
                      <a16:creationId xmlns:a16="http://schemas.microsoft.com/office/drawing/2014/main" id="{74B6D5D2-8B8A-7BB4-7A7F-E7D2578B3DAB}"/>
                    </a:ext>
                  </a:extLst>
                </p:cNvPr>
                <p:cNvSpPr txBox="1"/>
                <p:nvPr/>
              </p:nvSpPr>
              <p:spPr>
                <a:xfrm>
                  <a:off x="13050434" y="30460314"/>
                  <a:ext cx="580236" cy="30777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𝟐</m:t>
                            </m:r>
                          </m:sub>
                        </m:sSub>
                      </m:oMath>
                    </m:oMathPara>
                  </a14:m>
                  <a:endParaRPr lang="de-DE" sz="2000" b="1" kern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95" name="Textfeld 194">
                  <a:extLst>
                    <a:ext uri="{FF2B5EF4-FFF2-40B4-BE49-F238E27FC236}">
                      <a16:creationId xmlns:a16="http://schemas.microsoft.com/office/drawing/2014/main" id="{74B6D5D2-8B8A-7BB4-7A7F-E7D2578B3DA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3050434" y="30460314"/>
                  <a:ext cx="580236" cy="307778"/>
                </a:xfrm>
                <a:prstGeom prst="rect">
                  <a:avLst/>
                </a:prstGeom>
                <a:blipFill>
                  <a:blip r:embed="rId15"/>
                  <a:stretch>
                    <a:fillRect b="-19608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6" name="Textfeld 195">
                  <a:extLst>
                    <a:ext uri="{FF2B5EF4-FFF2-40B4-BE49-F238E27FC236}">
                      <a16:creationId xmlns:a16="http://schemas.microsoft.com/office/drawing/2014/main" id="{27A444F4-B4A8-0DE6-5C33-E945069BCC05}"/>
                    </a:ext>
                  </a:extLst>
                </p:cNvPr>
                <p:cNvSpPr txBox="1"/>
                <p:nvPr/>
              </p:nvSpPr>
              <p:spPr>
                <a:xfrm>
                  <a:off x="13050434" y="31464492"/>
                  <a:ext cx="580236" cy="30777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𝟑</m:t>
                            </m:r>
                          </m:sub>
                        </m:sSub>
                      </m:oMath>
                    </m:oMathPara>
                  </a14:m>
                  <a:endParaRPr lang="de-DE" sz="2000" b="1" kern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96" name="Textfeld 195">
                  <a:extLst>
                    <a:ext uri="{FF2B5EF4-FFF2-40B4-BE49-F238E27FC236}">
                      <a16:creationId xmlns:a16="http://schemas.microsoft.com/office/drawing/2014/main" id="{27A444F4-B4A8-0DE6-5C33-E945069BCC0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3050434" y="31464492"/>
                  <a:ext cx="580236" cy="307778"/>
                </a:xfrm>
                <a:prstGeom prst="rect">
                  <a:avLst/>
                </a:prstGeom>
                <a:blipFill>
                  <a:blip r:embed="rId16"/>
                  <a:stretch>
                    <a:fillRect b="-19608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7" name="Textfeld 196">
                  <a:extLst>
                    <a:ext uri="{FF2B5EF4-FFF2-40B4-BE49-F238E27FC236}">
                      <a16:creationId xmlns:a16="http://schemas.microsoft.com/office/drawing/2014/main" id="{DBC67288-71AE-E478-6114-DBA0E908D2E7}"/>
                    </a:ext>
                  </a:extLst>
                </p:cNvPr>
                <p:cNvSpPr txBox="1"/>
                <p:nvPr/>
              </p:nvSpPr>
              <p:spPr>
                <a:xfrm>
                  <a:off x="14580238" y="28907291"/>
                  <a:ext cx="580236" cy="30777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𝒉</m:t>
                            </m:r>
                          </m:e>
                          <m:sub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𝟏𝟏</m:t>
                            </m:r>
                          </m:sub>
                        </m:sSub>
                      </m:oMath>
                    </m:oMathPara>
                  </a14:m>
                  <a:endParaRPr lang="de-DE" sz="2000" b="1" kern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97" name="Textfeld 196">
                  <a:extLst>
                    <a:ext uri="{FF2B5EF4-FFF2-40B4-BE49-F238E27FC236}">
                      <a16:creationId xmlns:a16="http://schemas.microsoft.com/office/drawing/2014/main" id="{DBC67288-71AE-E478-6114-DBA0E908D2E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4580238" y="28907291"/>
                  <a:ext cx="580236" cy="307778"/>
                </a:xfrm>
                <a:prstGeom prst="rect">
                  <a:avLst/>
                </a:prstGeom>
                <a:blipFill>
                  <a:blip r:embed="rId17"/>
                  <a:stretch>
                    <a:fillRect l="-6250" b="-20000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8" name="Textfeld 197">
                  <a:extLst>
                    <a:ext uri="{FF2B5EF4-FFF2-40B4-BE49-F238E27FC236}">
                      <a16:creationId xmlns:a16="http://schemas.microsoft.com/office/drawing/2014/main" id="{6F1A7876-CBD5-D360-F5B3-42577675E590}"/>
                    </a:ext>
                  </a:extLst>
                </p:cNvPr>
                <p:cNvSpPr txBox="1"/>
                <p:nvPr/>
              </p:nvSpPr>
              <p:spPr>
                <a:xfrm>
                  <a:off x="14596628" y="29834702"/>
                  <a:ext cx="580236" cy="30777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𝒉</m:t>
                            </m:r>
                          </m:e>
                          <m:sub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𝟏𝟐</m:t>
                            </m:r>
                          </m:sub>
                        </m:sSub>
                      </m:oMath>
                    </m:oMathPara>
                  </a14:m>
                  <a:endParaRPr lang="de-DE" sz="2000" b="1" kern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98" name="Textfeld 197">
                  <a:extLst>
                    <a:ext uri="{FF2B5EF4-FFF2-40B4-BE49-F238E27FC236}">
                      <a16:creationId xmlns:a16="http://schemas.microsoft.com/office/drawing/2014/main" id="{6F1A7876-CBD5-D360-F5B3-42577675E59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4596628" y="29834702"/>
                  <a:ext cx="580236" cy="307778"/>
                </a:xfrm>
                <a:prstGeom prst="rect">
                  <a:avLst/>
                </a:prstGeom>
                <a:blipFill>
                  <a:blip r:embed="rId18"/>
                  <a:stretch>
                    <a:fillRect l="-6316" b="-20000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9" name="Textfeld 198">
                  <a:extLst>
                    <a:ext uri="{FF2B5EF4-FFF2-40B4-BE49-F238E27FC236}">
                      <a16:creationId xmlns:a16="http://schemas.microsoft.com/office/drawing/2014/main" id="{EC981ADB-4E03-247C-6FB2-18C4E0052F17}"/>
                    </a:ext>
                  </a:extLst>
                </p:cNvPr>
                <p:cNvSpPr txBox="1"/>
                <p:nvPr/>
              </p:nvSpPr>
              <p:spPr>
                <a:xfrm>
                  <a:off x="14580238" y="30797537"/>
                  <a:ext cx="580236" cy="30777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𝒉</m:t>
                            </m:r>
                          </m:e>
                          <m:sub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𝟏𝟑</m:t>
                            </m:r>
                          </m:sub>
                        </m:sSub>
                      </m:oMath>
                    </m:oMathPara>
                  </a14:m>
                  <a:endParaRPr lang="de-DE" sz="2000" b="1" kern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99" name="Textfeld 198">
                  <a:extLst>
                    <a:ext uri="{FF2B5EF4-FFF2-40B4-BE49-F238E27FC236}">
                      <a16:creationId xmlns:a16="http://schemas.microsoft.com/office/drawing/2014/main" id="{EC981ADB-4E03-247C-6FB2-18C4E0052F1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4580238" y="30797537"/>
                  <a:ext cx="580236" cy="307778"/>
                </a:xfrm>
                <a:prstGeom prst="rect">
                  <a:avLst/>
                </a:prstGeom>
                <a:blipFill>
                  <a:blip r:embed="rId19"/>
                  <a:stretch>
                    <a:fillRect l="-6250" b="-20000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0" name="Textfeld 199">
                  <a:extLst>
                    <a:ext uri="{FF2B5EF4-FFF2-40B4-BE49-F238E27FC236}">
                      <a16:creationId xmlns:a16="http://schemas.microsoft.com/office/drawing/2014/main" id="{C6427179-808F-FA1D-D15C-3041D9FCEC78}"/>
                    </a:ext>
                  </a:extLst>
                </p:cNvPr>
                <p:cNvSpPr txBox="1"/>
                <p:nvPr/>
              </p:nvSpPr>
              <p:spPr>
                <a:xfrm>
                  <a:off x="14596628" y="31729131"/>
                  <a:ext cx="580236" cy="30777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𝒉</m:t>
                            </m:r>
                          </m:e>
                          <m:sub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𝟏𝟒</m:t>
                            </m:r>
                          </m:sub>
                        </m:sSub>
                      </m:oMath>
                    </m:oMathPara>
                  </a14:m>
                  <a:endParaRPr lang="de-DE" sz="2000" b="1" kern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200" name="Textfeld 199">
                  <a:extLst>
                    <a:ext uri="{FF2B5EF4-FFF2-40B4-BE49-F238E27FC236}">
                      <a16:creationId xmlns:a16="http://schemas.microsoft.com/office/drawing/2014/main" id="{C6427179-808F-FA1D-D15C-3041D9FCEC7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4596628" y="31729131"/>
                  <a:ext cx="580236" cy="307778"/>
                </a:xfrm>
                <a:prstGeom prst="rect">
                  <a:avLst/>
                </a:prstGeom>
                <a:blipFill>
                  <a:blip r:embed="rId20"/>
                  <a:stretch>
                    <a:fillRect l="-6316" b="-20000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1" name="Textfeld 200">
                  <a:extLst>
                    <a:ext uri="{FF2B5EF4-FFF2-40B4-BE49-F238E27FC236}">
                      <a16:creationId xmlns:a16="http://schemas.microsoft.com/office/drawing/2014/main" id="{F8BB3159-BD12-C890-C8EF-2E1FBEF503E3}"/>
                    </a:ext>
                  </a:extLst>
                </p:cNvPr>
                <p:cNvSpPr txBox="1"/>
                <p:nvPr/>
              </p:nvSpPr>
              <p:spPr>
                <a:xfrm>
                  <a:off x="16224265" y="28913168"/>
                  <a:ext cx="580236" cy="30777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𝒉</m:t>
                            </m:r>
                          </m:e>
                          <m:sub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𝟐𝟏</m:t>
                            </m:r>
                          </m:sub>
                        </m:sSub>
                      </m:oMath>
                    </m:oMathPara>
                  </a14:m>
                  <a:endParaRPr lang="de-DE" sz="2000" b="1" kern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201" name="Textfeld 200">
                  <a:extLst>
                    <a:ext uri="{FF2B5EF4-FFF2-40B4-BE49-F238E27FC236}">
                      <a16:creationId xmlns:a16="http://schemas.microsoft.com/office/drawing/2014/main" id="{F8BB3159-BD12-C890-C8EF-2E1FBEF503E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224265" y="28913168"/>
                  <a:ext cx="580236" cy="307778"/>
                </a:xfrm>
                <a:prstGeom prst="rect">
                  <a:avLst/>
                </a:prstGeom>
                <a:blipFill>
                  <a:blip r:embed="rId21"/>
                  <a:stretch>
                    <a:fillRect l="-6316" b="-20000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2" name="Textfeld 201">
                  <a:extLst>
                    <a:ext uri="{FF2B5EF4-FFF2-40B4-BE49-F238E27FC236}">
                      <a16:creationId xmlns:a16="http://schemas.microsoft.com/office/drawing/2014/main" id="{88C5E72E-6640-64D3-6DA6-46A04B6CEAE7}"/>
                    </a:ext>
                  </a:extLst>
                </p:cNvPr>
                <p:cNvSpPr txBox="1"/>
                <p:nvPr/>
              </p:nvSpPr>
              <p:spPr>
                <a:xfrm>
                  <a:off x="16224265" y="29860601"/>
                  <a:ext cx="580236" cy="30777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𝒉</m:t>
                            </m:r>
                          </m:e>
                          <m:sub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𝟐𝟐</m:t>
                            </m:r>
                          </m:sub>
                        </m:sSub>
                      </m:oMath>
                    </m:oMathPara>
                  </a14:m>
                  <a:endParaRPr lang="de-DE" sz="2000" b="1" kern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202" name="Textfeld 201">
                  <a:extLst>
                    <a:ext uri="{FF2B5EF4-FFF2-40B4-BE49-F238E27FC236}">
                      <a16:creationId xmlns:a16="http://schemas.microsoft.com/office/drawing/2014/main" id="{88C5E72E-6640-64D3-6DA6-46A04B6CEAE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224265" y="29860601"/>
                  <a:ext cx="580236" cy="307778"/>
                </a:xfrm>
                <a:prstGeom prst="rect">
                  <a:avLst/>
                </a:prstGeom>
                <a:blipFill>
                  <a:blip r:embed="rId22"/>
                  <a:stretch>
                    <a:fillRect l="-6316" b="-19608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3" name="Textfeld 202">
                  <a:extLst>
                    <a:ext uri="{FF2B5EF4-FFF2-40B4-BE49-F238E27FC236}">
                      <a16:creationId xmlns:a16="http://schemas.microsoft.com/office/drawing/2014/main" id="{62C4A4BA-8200-37DB-DAF2-B774912AB4B5}"/>
                    </a:ext>
                  </a:extLst>
                </p:cNvPr>
                <p:cNvSpPr txBox="1"/>
                <p:nvPr/>
              </p:nvSpPr>
              <p:spPr>
                <a:xfrm>
                  <a:off x="16224265" y="30812625"/>
                  <a:ext cx="580236" cy="30777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𝒉</m:t>
                            </m:r>
                          </m:e>
                          <m:sub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𝟐𝟑</m:t>
                            </m:r>
                          </m:sub>
                        </m:sSub>
                      </m:oMath>
                    </m:oMathPara>
                  </a14:m>
                  <a:endParaRPr lang="de-DE" sz="2000" b="1" kern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203" name="Textfeld 202">
                  <a:extLst>
                    <a:ext uri="{FF2B5EF4-FFF2-40B4-BE49-F238E27FC236}">
                      <a16:creationId xmlns:a16="http://schemas.microsoft.com/office/drawing/2014/main" id="{62C4A4BA-8200-37DB-DAF2-B774912AB4B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224265" y="30812625"/>
                  <a:ext cx="580236" cy="307778"/>
                </a:xfrm>
                <a:prstGeom prst="rect">
                  <a:avLst/>
                </a:prstGeom>
                <a:blipFill>
                  <a:blip r:embed="rId23"/>
                  <a:stretch>
                    <a:fillRect l="-6316" b="-19608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4" name="Textfeld 203">
                  <a:extLst>
                    <a:ext uri="{FF2B5EF4-FFF2-40B4-BE49-F238E27FC236}">
                      <a16:creationId xmlns:a16="http://schemas.microsoft.com/office/drawing/2014/main" id="{F780738D-EDA5-5F7B-2187-C945CA765266}"/>
                    </a:ext>
                  </a:extLst>
                </p:cNvPr>
                <p:cNvSpPr txBox="1"/>
                <p:nvPr/>
              </p:nvSpPr>
              <p:spPr>
                <a:xfrm>
                  <a:off x="16224265" y="31741491"/>
                  <a:ext cx="580236" cy="30777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𝒉</m:t>
                            </m:r>
                          </m:e>
                          <m:sub>
                            <m:r>
                              <a:rPr lang="de-DE" sz="2000" b="1" i="1" kern="0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𝟐𝟒</m:t>
                            </m:r>
                          </m:sub>
                        </m:sSub>
                      </m:oMath>
                    </m:oMathPara>
                  </a14:m>
                  <a:endParaRPr lang="de-DE" sz="2000" b="1" kern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204" name="Textfeld 203">
                  <a:extLst>
                    <a:ext uri="{FF2B5EF4-FFF2-40B4-BE49-F238E27FC236}">
                      <a16:creationId xmlns:a16="http://schemas.microsoft.com/office/drawing/2014/main" id="{F780738D-EDA5-5F7B-2187-C945CA76526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224265" y="31741491"/>
                  <a:ext cx="580236" cy="307778"/>
                </a:xfrm>
                <a:prstGeom prst="rect">
                  <a:avLst/>
                </a:prstGeom>
                <a:blipFill>
                  <a:blip r:embed="rId24"/>
                  <a:stretch>
                    <a:fillRect l="-6316" b="-20000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5" name="Textfeld 204">
                  <a:extLst>
                    <a:ext uri="{FF2B5EF4-FFF2-40B4-BE49-F238E27FC236}">
                      <a16:creationId xmlns:a16="http://schemas.microsoft.com/office/drawing/2014/main" id="{8854DD7E-980A-1C7E-58D9-9A56B7B0BD10}"/>
                    </a:ext>
                  </a:extLst>
                </p:cNvPr>
                <p:cNvSpPr txBox="1"/>
                <p:nvPr/>
              </p:nvSpPr>
              <p:spPr>
                <a:xfrm>
                  <a:off x="17268956" y="30460314"/>
                  <a:ext cx="580236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b="1" i="1" kern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𝒚</m:t>
                        </m:r>
                      </m:oMath>
                    </m:oMathPara>
                  </a14:m>
                  <a:endParaRPr lang="de-DE" sz="1000" b="1" kern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205" name="Textfeld 204">
                  <a:extLst>
                    <a:ext uri="{FF2B5EF4-FFF2-40B4-BE49-F238E27FC236}">
                      <a16:creationId xmlns:a16="http://schemas.microsoft.com/office/drawing/2014/main" id="{8854DD7E-980A-1C7E-58D9-9A56B7B0BD1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7268956" y="30460314"/>
                  <a:ext cx="580236" cy="276999"/>
                </a:xfrm>
                <a:prstGeom prst="rect">
                  <a:avLst/>
                </a:prstGeom>
                <a:blipFill>
                  <a:blip r:embed="rId25"/>
                  <a:stretch>
                    <a:fillRect b="-26087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6" name="Freihandform 205">
              <a:extLst>
                <a:ext uri="{FF2B5EF4-FFF2-40B4-BE49-F238E27FC236}">
                  <a16:creationId xmlns:a16="http://schemas.microsoft.com/office/drawing/2014/main" id="{522E5FE6-E05F-5C1A-5068-496D2A75F3BD}"/>
                </a:ext>
              </a:extLst>
            </p:cNvPr>
            <p:cNvSpPr/>
            <p:nvPr/>
          </p:nvSpPr>
          <p:spPr>
            <a:xfrm>
              <a:off x="14690252" y="29335661"/>
              <a:ext cx="192881" cy="271596"/>
            </a:xfrm>
            <a:custGeom>
              <a:avLst/>
              <a:gdLst>
                <a:gd name="connsiteX0" fmla="*/ 0 w 576262"/>
                <a:gd name="connsiteY0" fmla="*/ 328701 h 343232"/>
                <a:gd name="connsiteX1" fmla="*/ 266700 w 576262"/>
                <a:gd name="connsiteY1" fmla="*/ 304889 h 343232"/>
                <a:gd name="connsiteX2" fmla="*/ 471487 w 576262"/>
                <a:gd name="connsiteY2" fmla="*/ 89 h 343232"/>
                <a:gd name="connsiteX3" fmla="*/ 576262 w 576262"/>
                <a:gd name="connsiteY3" fmla="*/ 338226 h 343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6262" h="343232">
                  <a:moveTo>
                    <a:pt x="0" y="328701"/>
                  </a:moveTo>
                  <a:cubicBezTo>
                    <a:pt x="94059" y="344179"/>
                    <a:pt x="188119" y="359658"/>
                    <a:pt x="266700" y="304889"/>
                  </a:cubicBezTo>
                  <a:cubicBezTo>
                    <a:pt x="345281" y="250120"/>
                    <a:pt x="419894" y="-5467"/>
                    <a:pt x="471487" y="89"/>
                  </a:cubicBezTo>
                  <a:cubicBezTo>
                    <a:pt x="523080" y="5645"/>
                    <a:pt x="520699" y="275520"/>
                    <a:pt x="576262" y="338226"/>
                  </a:cubicBezTo>
                </a:path>
              </a:pathLst>
            </a:cu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/>
            <a:p>
              <a:pPr algn="ctr"/>
              <a:endParaRPr lang="de-DE" sz="1000"/>
            </a:p>
          </p:txBody>
        </p:sp>
        <p:sp>
          <p:nvSpPr>
            <p:cNvPr id="207" name="Freihandform 206">
              <a:extLst>
                <a:ext uri="{FF2B5EF4-FFF2-40B4-BE49-F238E27FC236}">
                  <a16:creationId xmlns:a16="http://schemas.microsoft.com/office/drawing/2014/main" id="{B3BB71E9-1704-7C88-D0D1-7EBC694CCCFC}"/>
                </a:ext>
              </a:extLst>
            </p:cNvPr>
            <p:cNvSpPr/>
            <p:nvPr/>
          </p:nvSpPr>
          <p:spPr>
            <a:xfrm flipH="1">
              <a:off x="14790305" y="32154879"/>
              <a:ext cx="192881" cy="271596"/>
            </a:xfrm>
            <a:custGeom>
              <a:avLst/>
              <a:gdLst>
                <a:gd name="connsiteX0" fmla="*/ 0 w 576262"/>
                <a:gd name="connsiteY0" fmla="*/ 328701 h 343232"/>
                <a:gd name="connsiteX1" fmla="*/ 266700 w 576262"/>
                <a:gd name="connsiteY1" fmla="*/ 304889 h 343232"/>
                <a:gd name="connsiteX2" fmla="*/ 471487 w 576262"/>
                <a:gd name="connsiteY2" fmla="*/ 89 h 343232"/>
                <a:gd name="connsiteX3" fmla="*/ 576262 w 576262"/>
                <a:gd name="connsiteY3" fmla="*/ 338226 h 343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6262" h="343232">
                  <a:moveTo>
                    <a:pt x="0" y="328701"/>
                  </a:moveTo>
                  <a:cubicBezTo>
                    <a:pt x="94059" y="344179"/>
                    <a:pt x="188119" y="359658"/>
                    <a:pt x="266700" y="304889"/>
                  </a:cubicBezTo>
                  <a:cubicBezTo>
                    <a:pt x="345281" y="250120"/>
                    <a:pt x="419894" y="-5467"/>
                    <a:pt x="471487" y="89"/>
                  </a:cubicBezTo>
                  <a:cubicBezTo>
                    <a:pt x="523080" y="5645"/>
                    <a:pt x="520699" y="275520"/>
                    <a:pt x="576262" y="338226"/>
                  </a:cubicBezTo>
                </a:path>
              </a:pathLst>
            </a:cu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/>
            <a:p>
              <a:pPr algn="ctr"/>
              <a:endParaRPr lang="de-DE" sz="1000"/>
            </a:p>
          </p:txBody>
        </p:sp>
        <p:sp>
          <p:nvSpPr>
            <p:cNvPr id="208" name="Freihandform 207">
              <a:extLst>
                <a:ext uri="{FF2B5EF4-FFF2-40B4-BE49-F238E27FC236}">
                  <a16:creationId xmlns:a16="http://schemas.microsoft.com/office/drawing/2014/main" id="{F2836988-7A4D-F2CC-1A4D-A15B2D5E6A90}"/>
                </a:ext>
              </a:extLst>
            </p:cNvPr>
            <p:cNvSpPr/>
            <p:nvPr/>
          </p:nvSpPr>
          <p:spPr>
            <a:xfrm>
              <a:off x="14558185" y="31204874"/>
              <a:ext cx="379928" cy="271596"/>
            </a:xfrm>
            <a:custGeom>
              <a:avLst/>
              <a:gdLst>
                <a:gd name="connsiteX0" fmla="*/ 0 w 576262"/>
                <a:gd name="connsiteY0" fmla="*/ 328701 h 343232"/>
                <a:gd name="connsiteX1" fmla="*/ 266700 w 576262"/>
                <a:gd name="connsiteY1" fmla="*/ 304889 h 343232"/>
                <a:gd name="connsiteX2" fmla="*/ 471487 w 576262"/>
                <a:gd name="connsiteY2" fmla="*/ 89 h 343232"/>
                <a:gd name="connsiteX3" fmla="*/ 576262 w 576262"/>
                <a:gd name="connsiteY3" fmla="*/ 338226 h 343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6262" h="343232">
                  <a:moveTo>
                    <a:pt x="0" y="328701"/>
                  </a:moveTo>
                  <a:cubicBezTo>
                    <a:pt x="94059" y="344179"/>
                    <a:pt x="188119" y="359658"/>
                    <a:pt x="266700" y="304889"/>
                  </a:cubicBezTo>
                  <a:cubicBezTo>
                    <a:pt x="345281" y="250120"/>
                    <a:pt x="419894" y="-5467"/>
                    <a:pt x="471487" y="89"/>
                  </a:cubicBezTo>
                  <a:cubicBezTo>
                    <a:pt x="523080" y="5645"/>
                    <a:pt x="520699" y="275520"/>
                    <a:pt x="576262" y="338226"/>
                  </a:cubicBezTo>
                </a:path>
              </a:pathLst>
            </a:cu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/>
            <a:p>
              <a:pPr algn="ctr"/>
              <a:endParaRPr lang="de-DE" sz="1000"/>
            </a:p>
          </p:txBody>
        </p:sp>
        <p:sp>
          <p:nvSpPr>
            <p:cNvPr id="209" name="Freihandform 208">
              <a:extLst>
                <a:ext uri="{FF2B5EF4-FFF2-40B4-BE49-F238E27FC236}">
                  <a16:creationId xmlns:a16="http://schemas.microsoft.com/office/drawing/2014/main" id="{673BF97B-7CE4-4B23-7539-41AC45910193}"/>
                </a:ext>
              </a:extLst>
            </p:cNvPr>
            <p:cNvSpPr/>
            <p:nvPr/>
          </p:nvSpPr>
          <p:spPr>
            <a:xfrm>
              <a:off x="14745400" y="30302328"/>
              <a:ext cx="124956" cy="271596"/>
            </a:xfrm>
            <a:custGeom>
              <a:avLst/>
              <a:gdLst>
                <a:gd name="connsiteX0" fmla="*/ 0 w 576262"/>
                <a:gd name="connsiteY0" fmla="*/ 328701 h 343232"/>
                <a:gd name="connsiteX1" fmla="*/ 266700 w 576262"/>
                <a:gd name="connsiteY1" fmla="*/ 304889 h 343232"/>
                <a:gd name="connsiteX2" fmla="*/ 471487 w 576262"/>
                <a:gd name="connsiteY2" fmla="*/ 89 h 343232"/>
                <a:gd name="connsiteX3" fmla="*/ 576262 w 576262"/>
                <a:gd name="connsiteY3" fmla="*/ 338226 h 343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6262" h="343232">
                  <a:moveTo>
                    <a:pt x="0" y="328701"/>
                  </a:moveTo>
                  <a:cubicBezTo>
                    <a:pt x="94059" y="344179"/>
                    <a:pt x="188119" y="359658"/>
                    <a:pt x="266700" y="304889"/>
                  </a:cubicBezTo>
                  <a:cubicBezTo>
                    <a:pt x="345281" y="250120"/>
                    <a:pt x="419894" y="-5467"/>
                    <a:pt x="471487" y="89"/>
                  </a:cubicBezTo>
                  <a:cubicBezTo>
                    <a:pt x="523080" y="5645"/>
                    <a:pt x="520699" y="275520"/>
                    <a:pt x="576262" y="338226"/>
                  </a:cubicBezTo>
                </a:path>
              </a:pathLst>
            </a:cu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/>
            <a:p>
              <a:pPr algn="ctr"/>
              <a:endParaRPr lang="de-DE" sz="1000"/>
            </a:p>
          </p:txBody>
        </p:sp>
        <p:sp>
          <p:nvSpPr>
            <p:cNvPr id="210" name="Freihandform 209">
              <a:extLst>
                <a:ext uri="{FF2B5EF4-FFF2-40B4-BE49-F238E27FC236}">
                  <a16:creationId xmlns:a16="http://schemas.microsoft.com/office/drawing/2014/main" id="{E01E8237-1CC9-4B06-1A7E-DB69190A3BAC}"/>
                </a:ext>
              </a:extLst>
            </p:cNvPr>
            <p:cNvSpPr/>
            <p:nvPr/>
          </p:nvSpPr>
          <p:spPr>
            <a:xfrm>
              <a:off x="17405416" y="30872136"/>
              <a:ext cx="283740" cy="331973"/>
            </a:xfrm>
            <a:custGeom>
              <a:avLst/>
              <a:gdLst>
                <a:gd name="connsiteX0" fmla="*/ 0 w 428625"/>
                <a:gd name="connsiteY0" fmla="*/ 381000 h 415366"/>
                <a:gd name="connsiteX1" fmla="*/ 223837 w 428625"/>
                <a:gd name="connsiteY1" fmla="*/ 0 h 415366"/>
                <a:gd name="connsiteX2" fmla="*/ 376237 w 428625"/>
                <a:gd name="connsiteY2" fmla="*/ 381000 h 415366"/>
                <a:gd name="connsiteX3" fmla="*/ 428625 w 428625"/>
                <a:gd name="connsiteY3" fmla="*/ 400050 h 41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8625" h="415366">
                  <a:moveTo>
                    <a:pt x="0" y="381000"/>
                  </a:moveTo>
                  <a:cubicBezTo>
                    <a:pt x="80565" y="190500"/>
                    <a:pt x="161131" y="0"/>
                    <a:pt x="223837" y="0"/>
                  </a:cubicBezTo>
                  <a:cubicBezTo>
                    <a:pt x="286543" y="0"/>
                    <a:pt x="342106" y="314325"/>
                    <a:pt x="376237" y="381000"/>
                  </a:cubicBezTo>
                  <a:cubicBezTo>
                    <a:pt x="410368" y="447675"/>
                    <a:pt x="391319" y="396081"/>
                    <a:pt x="428625" y="400050"/>
                  </a:cubicBezTo>
                </a:path>
              </a:pathLst>
            </a:cu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/>
            <a:p>
              <a:pPr algn="ctr"/>
              <a:endParaRPr lang="de-DE" sz="1000"/>
            </a:p>
          </p:txBody>
        </p:sp>
        <p:sp>
          <p:nvSpPr>
            <p:cNvPr id="211" name="Freihandform 210">
              <a:extLst>
                <a:ext uri="{FF2B5EF4-FFF2-40B4-BE49-F238E27FC236}">
                  <a16:creationId xmlns:a16="http://schemas.microsoft.com/office/drawing/2014/main" id="{46841645-6853-C93C-0D4A-A9060EDD67CB}"/>
                </a:ext>
              </a:extLst>
            </p:cNvPr>
            <p:cNvSpPr/>
            <p:nvPr/>
          </p:nvSpPr>
          <p:spPr>
            <a:xfrm>
              <a:off x="16343728" y="29327883"/>
              <a:ext cx="293220" cy="279374"/>
            </a:xfrm>
            <a:custGeom>
              <a:avLst/>
              <a:gdLst>
                <a:gd name="connsiteX0" fmla="*/ 0 w 409575"/>
                <a:gd name="connsiteY0" fmla="*/ 338852 h 376952"/>
                <a:gd name="connsiteX1" fmla="*/ 133350 w 409575"/>
                <a:gd name="connsiteY1" fmla="*/ 714 h 376952"/>
                <a:gd name="connsiteX2" fmla="*/ 290513 w 409575"/>
                <a:gd name="connsiteY2" fmla="*/ 253127 h 376952"/>
                <a:gd name="connsiteX3" fmla="*/ 409575 w 409575"/>
                <a:gd name="connsiteY3" fmla="*/ 376952 h 37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" h="376952">
                  <a:moveTo>
                    <a:pt x="0" y="338852"/>
                  </a:moveTo>
                  <a:cubicBezTo>
                    <a:pt x="42465" y="176927"/>
                    <a:pt x="84931" y="15002"/>
                    <a:pt x="133350" y="714"/>
                  </a:cubicBezTo>
                  <a:cubicBezTo>
                    <a:pt x="181769" y="-13574"/>
                    <a:pt x="244476" y="190421"/>
                    <a:pt x="290513" y="253127"/>
                  </a:cubicBezTo>
                  <a:cubicBezTo>
                    <a:pt x="336550" y="315833"/>
                    <a:pt x="374650" y="355521"/>
                    <a:pt x="409575" y="376952"/>
                  </a:cubicBezTo>
                </a:path>
              </a:pathLst>
            </a:cu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/>
            <a:p>
              <a:pPr algn="ctr"/>
              <a:endParaRPr lang="de-DE" sz="1000"/>
            </a:p>
          </p:txBody>
        </p:sp>
        <p:sp>
          <p:nvSpPr>
            <p:cNvPr id="212" name="Freihandform 211">
              <a:extLst>
                <a:ext uri="{FF2B5EF4-FFF2-40B4-BE49-F238E27FC236}">
                  <a16:creationId xmlns:a16="http://schemas.microsoft.com/office/drawing/2014/main" id="{B945B632-E262-7CE1-FF9A-4BD90354AAC7}"/>
                </a:ext>
              </a:extLst>
            </p:cNvPr>
            <p:cNvSpPr/>
            <p:nvPr/>
          </p:nvSpPr>
          <p:spPr>
            <a:xfrm>
              <a:off x="16343728" y="30292317"/>
              <a:ext cx="164631" cy="279374"/>
            </a:xfrm>
            <a:custGeom>
              <a:avLst/>
              <a:gdLst>
                <a:gd name="connsiteX0" fmla="*/ 0 w 409575"/>
                <a:gd name="connsiteY0" fmla="*/ 338852 h 376952"/>
                <a:gd name="connsiteX1" fmla="*/ 133350 w 409575"/>
                <a:gd name="connsiteY1" fmla="*/ 714 h 376952"/>
                <a:gd name="connsiteX2" fmla="*/ 290513 w 409575"/>
                <a:gd name="connsiteY2" fmla="*/ 253127 h 376952"/>
                <a:gd name="connsiteX3" fmla="*/ 409575 w 409575"/>
                <a:gd name="connsiteY3" fmla="*/ 376952 h 37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" h="376952">
                  <a:moveTo>
                    <a:pt x="0" y="338852"/>
                  </a:moveTo>
                  <a:cubicBezTo>
                    <a:pt x="42465" y="176927"/>
                    <a:pt x="84931" y="15002"/>
                    <a:pt x="133350" y="714"/>
                  </a:cubicBezTo>
                  <a:cubicBezTo>
                    <a:pt x="181769" y="-13574"/>
                    <a:pt x="244476" y="190421"/>
                    <a:pt x="290513" y="253127"/>
                  </a:cubicBezTo>
                  <a:cubicBezTo>
                    <a:pt x="336550" y="315833"/>
                    <a:pt x="374650" y="355521"/>
                    <a:pt x="409575" y="376952"/>
                  </a:cubicBezTo>
                </a:path>
              </a:pathLst>
            </a:cu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/>
            <a:p>
              <a:pPr algn="ctr"/>
              <a:endParaRPr lang="de-DE" sz="1000"/>
            </a:p>
          </p:txBody>
        </p:sp>
        <p:sp>
          <p:nvSpPr>
            <p:cNvPr id="213" name="Freihandform 212">
              <a:extLst>
                <a:ext uri="{FF2B5EF4-FFF2-40B4-BE49-F238E27FC236}">
                  <a16:creationId xmlns:a16="http://schemas.microsoft.com/office/drawing/2014/main" id="{9992F463-6F70-1C7C-58E4-5402FB3E5A75}"/>
                </a:ext>
              </a:extLst>
            </p:cNvPr>
            <p:cNvSpPr/>
            <p:nvPr/>
          </p:nvSpPr>
          <p:spPr>
            <a:xfrm>
              <a:off x="16403956" y="31214061"/>
              <a:ext cx="164631" cy="279374"/>
            </a:xfrm>
            <a:custGeom>
              <a:avLst/>
              <a:gdLst>
                <a:gd name="connsiteX0" fmla="*/ 0 w 409575"/>
                <a:gd name="connsiteY0" fmla="*/ 338852 h 376952"/>
                <a:gd name="connsiteX1" fmla="*/ 133350 w 409575"/>
                <a:gd name="connsiteY1" fmla="*/ 714 h 376952"/>
                <a:gd name="connsiteX2" fmla="*/ 290513 w 409575"/>
                <a:gd name="connsiteY2" fmla="*/ 253127 h 376952"/>
                <a:gd name="connsiteX3" fmla="*/ 409575 w 409575"/>
                <a:gd name="connsiteY3" fmla="*/ 376952 h 37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" h="376952">
                  <a:moveTo>
                    <a:pt x="0" y="338852"/>
                  </a:moveTo>
                  <a:cubicBezTo>
                    <a:pt x="42465" y="176927"/>
                    <a:pt x="84931" y="15002"/>
                    <a:pt x="133350" y="714"/>
                  </a:cubicBezTo>
                  <a:cubicBezTo>
                    <a:pt x="181769" y="-13574"/>
                    <a:pt x="244476" y="190421"/>
                    <a:pt x="290513" y="253127"/>
                  </a:cubicBezTo>
                  <a:cubicBezTo>
                    <a:pt x="336550" y="315833"/>
                    <a:pt x="374650" y="355521"/>
                    <a:pt x="409575" y="376952"/>
                  </a:cubicBezTo>
                </a:path>
              </a:pathLst>
            </a:cu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/>
            <a:p>
              <a:pPr algn="ctr"/>
              <a:endParaRPr lang="de-DE" sz="1000"/>
            </a:p>
          </p:txBody>
        </p:sp>
        <p:sp>
          <p:nvSpPr>
            <p:cNvPr id="214" name="Freihandform 213">
              <a:extLst>
                <a:ext uri="{FF2B5EF4-FFF2-40B4-BE49-F238E27FC236}">
                  <a16:creationId xmlns:a16="http://schemas.microsoft.com/office/drawing/2014/main" id="{5185962C-5D4B-B4E7-57C1-FF9849291C59}"/>
                </a:ext>
              </a:extLst>
            </p:cNvPr>
            <p:cNvSpPr/>
            <p:nvPr/>
          </p:nvSpPr>
          <p:spPr>
            <a:xfrm flipH="1">
              <a:off x="16380532" y="32183246"/>
              <a:ext cx="164631" cy="279374"/>
            </a:xfrm>
            <a:custGeom>
              <a:avLst/>
              <a:gdLst>
                <a:gd name="connsiteX0" fmla="*/ 0 w 409575"/>
                <a:gd name="connsiteY0" fmla="*/ 338852 h 376952"/>
                <a:gd name="connsiteX1" fmla="*/ 133350 w 409575"/>
                <a:gd name="connsiteY1" fmla="*/ 714 h 376952"/>
                <a:gd name="connsiteX2" fmla="*/ 290513 w 409575"/>
                <a:gd name="connsiteY2" fmla="*/ 253127 h 376952"/>
                <a:gd name="connsiteX3" fmla="*/ 409575 w 409575"/>
                <a:gd name="connsiteY3" fmla="*/ 376952 h 37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" h="376952">
                  <a:moveTo>
                    <a:pt x="0" y="338852"/>
                  </a:moveTo>
                  <a:cubicBezTo>
                    <a:pt x="42465" y="176927"/>
                    <a:pt x="84931" y="15002"/>
                    <a:pt x="133350" y="714"/>
                  </a:cubicBezTo>
                  <a:cubicBezTo>
                    <a:pt x="181769" y="-13574"/>
                    <a:pt x="244476" y="190421"/>
                    <a:pt x="290513" y="253127"/>
                  </a:cubicBezTo>
                  <a:cubicBezTo>
                    <a:pt x="336550" y="315833"/>
                    <a:pt x="374650" y="355521"/>
                    <a:pt x="409575" y="376952"/>
                  </a:cubicBezTo>
                </a:path>
              </a:pathLst>
            </a:cu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/>
            <a:p>
              <a:pPr algn="ctr"/>
              <a:endParaRPr lang="de-DE" sz="1000"/>
            </a:p>
          </p:txBody>
        </p:sp>
      </p:grpSp>
      <p:sp>
        <p:nvSpPr>
          <p:cNvPr id="260" name="Textfeld 259">
            <a:extLst>
              <a:ext uri="{FF2B5EF4-FFF2-40B4-BE49-F238E27FC236}">
                <a16:creationId xmlns:a16="http://schemas.microsoft.com/office/drawing/2014/main" id="{F6D40B12-3AB3-2575-3260-319876A383B9}"/>
              </a:ext>
            </a:extLst>
          </p:cNvPr>
          <p:cNvSpPr txBox="1"/>
          <p:nvPr/>
        </p:nvSpPr>
        <p:spPr bwMode="auto">
          <a:xfrm>
            <a:off x="10434782" y="31869567"/>
            <a:ext cx="4807830" cy="1200329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Clr>
                <a:srgbClr val="84B819"/>
              </a:buClr>
              <a:defRPr/>
            </a:pPr>
            <a:r>
              <a:rPr lang="de-DE" sz="3600" b="1" dirty="0" err="1">
                <a:solidFill>
                  <a:prstClr val="black"/>
                </a:solidFill>
              </a:rPr>
              <a:t>Bayesian</a:t>
            </a:r>
            <a:r>
              <a:rPr lang="de-DE" sz="3600" b="1" dirty="0">
                <a:solidFill>
                  <a:prstClr val="black"/>
                </a:solidFill>
              </a:rPr>
              <a:t> </a:t>
            </a:r>
            <a:r>
              <a:rPr lang="de-DE" sz="3600" b="1" dirty="0" err="1">
                <a:solidFill>
                  <a:prstClr val="black"/>
                </a:solidFill>
              </a:rPr>
              <a:t>Neural</a:t>
            </a:r>
            <a:r>
              <a:rPr lang="de-DE" sz="3600" b="1" dirty="0">
                <a:solidFill>
                  <a:prstClr val="black"/>
                </a:solidFill>
              </a:rPr>
              <a:t> Networks</a:t>
            </a:r>
          </a:p>
        </p:txBody>
      </p:sp>
      <p:sp>
        <p:nvSpPr>
          <p:cNvPr id="289" name="Textfeld 288">
            <a:extLst>
              <a:ext uri="{FF2B5EF4-FFF2-40B4-BE49-F238E27FC236}">
                <a16:creationId xmlns:a16="http://schemas.microsoft.com/office/drawing/2014/main" id="{9D5995C7-596B-07D0-1572-4C43EA61F6C1}"/>
              </a:ext>
            </a:extLst>
          </p:cNvPr>
          <p:cNvSpPr txBox="1">
            <a:spLocks/>
          </p:cNvSpPr>
          <p:nvPr/>
        </p:nvSpPr>
        <p:spPr>
          <a:xfrm>
            <a:off x="27511701" y="37395304"/>
            <a:ext cx="1555090" cy="646331"/>
          </a:xfrm>
          <a:prstGeom prst="rect">
            <a:avLst/>
          </a:prstGeom>
          <a:solidFill>
            <a:srgbClr val="369682"/>
          </a:solidFill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56032" tIns="128016" rIns="256032" bIns="128016" rtlCol="0" anchor="ctr"/>
          <a:lstStyle>
            <a:defPPr>
              <a:defRPr lang="de-DE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bk</a:t>
            </a:r>
            <a:endParaRPr kumimoji="0" lang="de-DE" sz="392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0" name="Textfeld 289">
            <a:extLst>
              <a:ext uri="{FF2B5EF4-FFF2-40B4-BE49-F238E27FC236}">
                <a16:creationId xmlns:a16="http://schemas.microsoft.com/office/drawing/2014/main" id="{4031C18D-75D5-4AD6-FF1F-0CA287CE3B00}"/>
              </a:ext>
            </a:extLst>
          </p:cNvPr>
          <p:cNvSpPr txBox="1">
            <a:spLocks/>
          </p:cNvSpPr>
          <p:nvPr/>
        </p:nvSpPr>
        <p:spPr>
          <a:xfrm>
            <a:off x="27508359" y="38270962"/>
            <a:ext cx="1555089" cy="646331"/>
          </a:xfrm>
          <a:prstGeom prst="rect">
            <a:avLst/>
          </a:prstGeom>
          <a:solidFill>
            <a:srgbClr val="026681"/>
          </a:solidFill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56032" tIns="128016" rIns="256032" bIns="128016" rtlCol="0" anchor="ctr"/>
          <a:lstStyle>
            <a:defPPr>
              <a:defRPr lang="de-DE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TS</a:t>
            </a:r>
            <a:endParaRPr kumimoji="0" lang="de-DE" sz="392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D2100B9-E636-1B8F-6EDE-AD4E9ADECA64}"/>
              </a:ext>
            </a:extLst>
          </p:cNvPr>
          <p:cNvSpPr txBox="1"/>
          <p:nvPr/>
        </p:nvSpPr>
        <p:spPr>
          <a:xfrm>
            <a:off x="8639536" y="19559585"/>
            <a:ext cx="65213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kumimoji="0" lang="de-DE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huchao</a:t>
            </a:r>
            <a:r>
              <a:rPr kumimoji="0" lang="de-DE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 al., 2025</a:t>
            </a:r>
            <a:r>
              <a:rPr lang="de-DE" sz="28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Lanza et al. 2026</a:t>
            </a:r>
            <a:endParaRPr kumimoji="0" lang="de-DE" sz="2800" b="0" i="0" u="none" strike="noStrike" kern="1200" cap="none" spc="0" normalizeH="0" baseline="-2500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内容占位符 1">
            <a:extLst>
              <a:ext uri="{FF2B5EF4-FFF2-40B4-BE49-F238E27FC236}">
                <a16:creationId xmlns:a16="http://schemas.microsoft.com/office/drawing/2014/main" id="{B8165DB1-7CFD-5459-B09E-75337F2C3ECB}"/>
              </a:ext>
            </a:extLst>
          </p:cNvPr>
          <p:cNvPicPr>
            <a:picLocks noChangeAspect="1"/>
          </p:cNvPicPr>
          <p:nvPr/>
        </p:nvPicPr>
        <p:blipFill>
          <a:blip r:embed="rId26"/>
          <a:srcRect l="-1" r="66370"/>
          <a:stretch>
            <a:fillRect/>
          </a:stretch>
        </p:blipFill>
        <p:spPr>
          <a:xfrm>
            <a:off x="4203867" y="15685449"/>
            <a:ext cx="5040049" cy="3386401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AE2954D7-BC1D-1FA2-0A95-D0D7B16122E1}"/>
              </a:ext>
            </a:extLst>
          </p:cNvPr>
          <p:cNvSpPr txBox="1"/>
          <p:nvPr/>
        </p:nvSpPr>
        <p:spPr>
          <a:xfrm>
            <a:off x="5873467" y="18883071"/>
            <a:ext cx="2095382" cy="649025"/>
          </a:xfrm>
          <a:prstGeom prst="rect">
            <a:avLst/>
          </a:prstGeom>
          <a:solidFill>
            <a:schemeClr val="bg1"/>
          </a:solidFill>
        </p:spPr>
        <p:txBody>
          <a:bodyPr wrap="none" lIns="216027" tIns="108014" rIns="216027" bIns="108014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enzwert</a:t>
            </a:r>
            <a:endParaRPr kumimoji="0" lang="de-DE" sz="3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内容占位符 1">
            <a:extLst>
              <a:ext uri="{FF2B5EF4-FFF2-40B4-BE49-F238E27FC236}">
                <a16:creationId xmlns:a16="http://schemas.microsoft.com/office/drawing/2014/main" id="{A9C76D68-8B06-9B84-BFC2-D84AF4BDA2C1}"/>
              </a:ext>
            </a:extLst>
          </p:cNvPr>
          <p:cNvPicPr>
            <a:picLocks/>
          </p:cNvPicPr>
          <p:nvPr/>
        </p:nvPicPr>
        <p:blipFill>
          <a:blip r:embed="rId26"/>
          <a:srcRect l="33117" t="-108" r="33252"/>
          <a:stretch>
            <a:fillRect/>
          </a:stretch>
        </p:blipFill>
        <p:spPr>
          <a:xfrm>
            <a:off x="9647387" y="15693838"/>
            <a:ext cx="4597464" cy="338640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C5E167EA-6C9B-9A66-C112-8FF58634B613}"/>
              </a:ext>
            </a:extLst>
          </p:cNvPr>
          <p:cNvSpPr txBox="1"/>
          <p:nvPr/>
        </p:nvSpPr>
        <p:spPr>
          <a:xfrm>
            <a:off x="10968638" y="15323363"/>
            <a:ext cx="2294153" cy="649026"/>
          </a:xfrm>
          <a:prstGeom prst="rect">
            <a:avLst/>
          </a:prstGeom>
          <a:solidFill>
            <a:schemeClr val="bg1"/>
          </a:solidFill>
        </p:spPr>
        <p:txBody>
          <a:bodyPr wrap="none" lIns="216027" tIns="108014" rIns="216027" bIns="108014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C-Kurve</a:t>
            </a:r>
            <a:endParaRPr kumimoji="0" lang="de-DE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F53C3DB-66AF-CE69-CBE7-3083FFC9A82F}"/>
              </a:ext>
            </a:extLst>
          </p:cNvPr>
          <p:cNvSpPr txBox="1"/>
          <p:nvPr/>
        </p:nvSpPr>
        <p:spPr>
          <a:xfrm>
            <a:off x="10340108" y="18869740"/>
            <a:ext cx="3554114" cy="649025"/>
          </a:xfrm>
          <a:prstGeom prst="rect">
            <a:avLst/>
          </a:prstGeom>
          <a:solidFill>
            <a:schemeClr val="bg1"/>
          </a:solidFill>
        </p:spPr>
        <p:txBody>
          <a:bodyPr wrap="none" lIns="216027" tIns="108014" rIns="216027" bIns="108014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lsch-Positiv-Rate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837D766-6B96-DABC-B330-1DD158CF5E81}"/>
              </a:ext>
            </a:extLst>
          </p:cNvPr>
          <p:cNvSpPr txBox="1"/>
          <p:nvPr/>
        </p:nvSpPr>
        <p:spPr>
          <a:xfrm>
            <a:off x="4435966" y="15309784"/>
            <a:ext cx="4935903" cy="649025"/>
          </a:xfrm>
          <a:prstGeom prst="rect">
            <a:avLst/>
          </a:prstGeom>
          <a:solidFill>
            <a:schemeClr val="bg1"/>
          </a:solidFill>
        </p:spPr>
        <p:txBody>
          <a:bodyPr wrap="none" lIns="216027" tIns="108014" rIns="216027" bIns="108014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triken gegen Schwellwer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1A11E06-D7F2-2D00-C021-601D8490D743}"/>
              </a:ext>
            </a:extLst>
          </p:cNvPr>
          <p:cNvSpPr/>
          <p:nvPr/>
        </p:nvSpPr>
        <p:spPr>
          <a:xfrm>
            <a:off x="3727681" y="15301962"/>
            <a:ext cx="10580899" cy="4239280"/>
          </a:xfrm>
          <a:prstGeom prst="rect">
            <a:avLst/>
          </a:prstGeom>
          <a:noFill/>
          <a:ln w="30004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27" tIns="108014" rIns="216027" bIns="10801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B6E0422-E153-597B-5F91-737AE45EF6FF}"/>
              </a:ext>
            </a:extLst>
          </p:cNvPr>
          <p:cNvPicPr>
            <a:picLocks noChangeAspect="1"/>
          </p:cNvPicPr>
          <p:nvPr/>
        </p:nvPicPr>
        <p:blipFill>
          <a:blip r:embed="rId2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262" y="15469887"/>
            <a:ext cx="2023470" cy="2029559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83372948-E9F8-B25D-7665-07F1453E0111}"/>
              </a:ext>
            </a:extLst>
          </p:cNvPr>
          <p:cNvPicPr>
            <a:picLocks noChangeAspect="1"/>
          </p:cNvPicPr>
          <p:nvPr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4272" y="17387038"/>
            <a:ext cx="2079246" cy="1865585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D9A6940C-B48A-1BE4-9355-12D127DED41A}"/>
              </a:ext>
            </a:extLst>
          </p:cNvPr>
          <p:cNvSpPr txBox="1"/>
          <p:nvPr/>
        </p:nvSpPr>
        <p:spPr>
          <a:xfrm>
            <a:off x="869772" y="13972572"/>
            <a:ext cx="1124024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accent6"/>
              </a:buClr>
              <a:defRPr/>
            </a:pPr>
            <a:r>
              <a:rPr lang="de-DE" sz="3600" u="sng" dirty="0">
                <a:latin typeface="Arial" panose="020B0604020202020204" pitchFamily="34" charset="0"/>
                <a:cs typeface="Arial" panose="020B0604020202020204" pitchFamily="34" charset="0"/>
              </a:rPr>
              <a:t>Unsicherheit bei der Klassifikation von Cores mittels Multimodalem Large Language Model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2FBBCAC-8F0E-D3A7-6706-0109FD1F8E99}"/>
              </a:ext>
            </a:extLst>
          </p:cNvPr>
          <p:cNvSpPr txBox="1">
            <a:spLocks/>
          </p:cNvSpPr>
          <p:nvPr/>
        </p:nvSpPr>
        <p:spPr>
          <a:xfrm>
            <a:off x="13391599" y="14459677"/>
            <a:ext cx="1555089" cy="646331"/>
          </a:xfrm>
          <a:prstGeom prst="rect">
            <a:avLst/>
          </a:prstGeom>
          <a:solidFill>
            <a:srgbClr val="026681"/>
          </a:solidFill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56032" tIns="128016" rIns="256032" bIns="128016" rtlCol="0" anchor="ctr"/>
          <a:lstStyle>
            <a:defPPr>
              <a:defRPr lang="de-DE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TS</a:t>
            </a:r>
            <a:endParaRPr kumimoji="0" lang="de-DE" sz="392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464F331-4E68-DA2C-0895-D39622F654F4}"/>
              </a:ext>
            </a:extLst>
          </p:cNvPr>
          <p:cNvSpPr txBox="1">
            <a:spLocks/>
          </p:cNvSpPr>
          <p:nvPr/>
        </p:nvSpPr>
        <p:spPr>
          <a:xfrm>
            <a:off x="13397469" y="9192753"/>
            <a:ext cx="1555090" cy="646331"/>
          </a:xfrm>
          <a:prstGeom prst="rect">
            <a:avLst/>
          </a:prstGeom>
          <a:solidFill>
            <a:srgbClr val="369682"/>
          </a:solidFill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56032" tIns="128016" rIns="256032" bIns="128016" rtlCol="0" anchor="ctr"/>
          <a:lstStyle>
            <a:defPPr>
              <a:defRPr lang="de-DE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bk</a:t>
            </a:r>
            <a:endParaRPr kumimoji="0" lang="de-DE" sz="392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4F2C33A0-61C5-0502-BEBC-8247EAD8C517}"/>
              </a:ext>
            </a:extLst>
          </p:cNvPr>
          <p:cNvGrpSpPr>
            <a:grpSpLocks/>
          </p:cNvGrpSpPr>
          <p:nvPr/>
        </p:nvGrpSpPr>
        <p:grpSpPr>
          <a:xfrm>
            <a:off x="-20860" y="21078040"/>
            <a:ext cx="30296074" cy="2766478"/>
            <a:chOff x="303144" y="3535250"/>
            <a:chExt cx="11725818" cy="1383239"/>
          </a:xfrm>
        </p:grpSpPr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6175406B-BCEA-D0E4-F13E-493BF856AC11}"/>
                </a:ext>
              </a:extLst>
            </p:cNvPr>
            <p:cNvSpPr/>
            <p:nvPr/>
          </p:nvSpPr>
          <p:spPr>
            <a:xfrm>
              <a:off x="303144" y="3535250"/>
              <a:ext cx="11725818" cy="1383239"/>
            </a:xfrm>
            <a:prstGeom prst="rect">
              <a:avLst/>
            </a:prstGeom>
            <a:solidFill>
              <a:srgbClr val="E0F2C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rIns="18288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FD7214EA-BC64-CC20-ACD2-AD9C48EC63E6}"/>
                </a:ext>
              </a:extLst>
            </p:cNvPr>
            <p:cNvSpPr/>
            <p:nvPr/>
          </p:nvSpPr>
          <p:spPr bwMode="auto">
            <a:xfrm>
              <a:off x="667784" y="3619306"/>
              <a:ext cx="8801828" cy="115700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BFBFBF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182880" tIns="91440" rIns="18288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62422CEF-AB68-22EB-846F-EC8C6C4275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2502" y="3757044"/>
              <a:ext cx="780458" cy="896981"/>
            </a:xfrm>
            <a:prstGeom prst="rect">
              <a:avLst/>
            </a:prstGeom>
          </p:spPr>
        </p:pic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8272A757-A5D4-01A5-842D-9306A8380C7F}"/>
                </a:ext>
              </a:extLst>
            </p:cNvPr>
            <p:cNvSpPr txBox="1"/>
            <p:nvPr/>
          </p:nvSpPr>
          <p:spPr>
            <a:xfrm>
              <a:off x="3178610" y="4078916"/>
              <a:ext cx="678996" cy="369332"/>
            </a:xfrm>
            <a:prstGeom prst="rect">
              <a:avLst/>
            </a:prstGeom>
            <a:noFill/>
          </p:spPr>
          <p:txBody>
            <a:bodyPr wrap="none" lIns="182880" tIns="91440" rIns="182880" bIns="91440" rtlCol="0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4B819"/>
                </a:buClr>
                <a:buSzTx/>
                <a:buFontTx/>
                <a:buNone/>
                <a:tabLst/>
                <a:defRPr/>
              </a:pPr>
              <a:r>
                <a:rPr kumimoji="0" lang="de-DE" sz="3600" b="0" i="0" u="none" strike="noStrike" kern="0" cap="none" spc="0" normalizeH="0" baseline="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usion</a:t>
              </a:r>
              <a:endParaRPr kumimoji="0" lang="de-DE" sz="2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76" name="Gerade Verbindung mit Pfeil 75">
              <a:extLst>
                <a:ext uri="{FF2B5EF4-FFF2-40B4-BE49-F238E27FC236}">
                  <a16:creationId xmlns:a16="http://schemas.microsoft.com/office/drawing/2014/main" id="{C04D5E75-3616-EC49-7005-5C023042B1DD}"/>
                </a:ext>
              </a:extLst>
            </p:cNvPr>
            <p:cNvCxnSpPr>
              <a:cxnSpLocks/>
            </p:cNvCxnSpPr>
            <p:nvPr/>
          </p:nvCxnSpPr>
          <p:spPr>
            <a:xfrm>
              <a:off x="3950123" y="4231768"/>
              <a:ext cx="595547" cy="2072"/>
            </a:xfrm>
            <a:prstGeom prst="straightConnector1">
              <a:avLst/>
            </a:prstGeom>
            <a:ln w="38100">
              <a:solidFill>
                <a:schemeClr val="tx1">
                  <a:lumMod val="95000"/>
                  <a:lumOff val="5000"/>
                </a:schemeClr>
              </a:solidFill>
              <a:tailEnd type="triangle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3DB55C0C-9C8C-50AA-C4F1-8BBF10F605A1}"/>
                </a:ext>
              </a:extLst>
            </p:cNvPr>
            <p:cNvSpPr txBox="1"/>
            <p:nvPr/>
          </p:nvSpPr>
          <p:spPr>
            <a:xfrm>
              <a:off x="5939986" y="4289811"/>
              <a:ext cx="1304387" cy="369332"/>
            </a:xfrm>
            <a:prstGeom prst="rect">
              <a:avLst/>
            </a:prstGeom>
            <a:noFill/>
          </p:spPr>
          <p:txBody>
            <a:bodyPr wrap="none" lIns="182880" tIns="91440" rIns="182880" bIns="91440" rtlCol="0">
              <a:spAutoFit/>
            </a:bodyPr>
            <a:lstStyle/>
            <a:p>
              <a:pPr marR="0" lvl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4B819"/>
                </a:buClr>
                <a:buSzTx/>
                <a:buFontTx/>
                <a:buNone/>
                <a:tabLst/>
                <a:defRPr/>
              </a:pPr>
              <a:r>
                <a:rPr kumimoji="0" lang="de-DE" sz="3600" b="0" i="0" u="none" strike="noStrike" kern="0" cap="none" spc="0" normalizeH="0" baseline="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ransferlernen</a:t>
              </a:r>
              <a:endParaRPr kumimoji="0" lang="de-DE" sz="2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36754639-D500-D122-B7F9-2C98A16E72E5}"/>
                </a:ext>
              </a:extLst>
            </p:cNvPr>
            <p:cNvSpPr txBox="1"/>
            <p:nvPr/>
          </p:nvSpPr>
          <p:spPr>
            <a:xfrm>
              <a:off x="3792483" y="4289192"/>
              <a:ext cx="788191" cy="369332"/>
            </a:xfrm>
            <a:prstGeom prst="rect">
              <a:avLst/>
            </a:prstGeom>
            <a:noFill/>
          </p:spPr>
          <p:txBody>
            <a:bodyPr wrap="none" lIns="182880" tIns="91440" rIns="182880" bIns="91440" rtlCol="0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4B819"/>
                </a:buClr>
                <a:buSzTx/>
                <a:buFontTx/>
                <a:buNone/>
                <a:tabLst/>
                <a:defRPr/>
              </a:pPr>
              <a:r>
                <a:rPr kumimoji="0" lang="de-DE" sz="3600" b="0" i="0" u="none" strike="noStrike" kern="0" cap="none" spc="0" normalizeH="0" baseline="0" noProof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raining</a:t>
              </a:r>
              <a:endParaRPr kumimoji="0" lang="de-DE" sz="2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79" name="Gerade Verbindung mit Pfeil 78">
              <a:extLst>
                <a:ext uri="{FF2B5EF4-FFF2-40B4-BE49-F238E27FC236}">
                  <a16:creationId xmlns:a16="http://schemas.microsoft.com/office/drawing/2014/main" id="{7D827BAC-11E9-2459-063F-689D6EA3419D}"/>
                </a:ext>
              </a:extLst>
            </p:cNvPr>
            <p:cNvCxnSpPr>
              <a:cxnSpLocks/>
            </p:cNvCxnSpPr>
            <p:nvPr/>
          </p:nvCxnSpPr>
          <p:spPr>
            <a:xfrm>
              <a:off x="6014500" y="4231768"/>
              <a:ext cx="1224000" cy="2072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D572CE3C-4F41-DAE1-B48B-598CB897B906}"/>
                </a:ext>
              </a:extLst>
            </p:cNvPr>
            <p:cNvSpPr/>
            <p:nvPr/>
          </p:nvSpPr>
          <p:spPr bwMode="auto">
            <a:xfrm>
              <a:off x="1053936" y="3951159"/>
              <a:ext cx="1435623" cy="56239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BFBFBF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182880" tIns="91440" rIns="18288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" name="Rechteck: abgerundete Ecken 80">
              <a:extLst>
                <a:ext uri="{FF2B5EF4-FFF2-40B4-BE49-F238E27FC236}">
                  <a16:creationId xmlns:a16="http://schemas.microsoft.com/office/drawing/2014/main" id="{E090B8CD-15E4-8A03-FF80-006EEA72EAAD}"/>
                </a:ext>
              </a:extLst>
            </p:cNvPr>
            <p:cNvSpPr/>
            <p:nvPr/>
          </p:nvSpPr>
          <p:spPr>
            <a:xfrm rot="16200000">
              <a:off x="288396" y="4021943"/>
              <a:ext cx="1157002" cy="379496"/>
            </a:xfrm>
            <a:prstGeom prst="roundRect">
              <a:avLst>
                <a:gd name="adj" fmla="val 2980"/>
              </a:avLst>
            </a:prstGeom>
            <a:solidFill>
              <a:srgbClr val="002060"/>
            </a:solidFill>
            <a:ln w="76200" cap="flat" cmpd="sng" algn="ctr">
              <a:solidFill>
                <a:srgbClr val="002060"/>
              </a:solidFill>
              <a:prstDash val="solid"/>
            </a:ln>
            <a:effectLst/>
          </p:spPr>
          <p:txBody>
            <a:bodyPr lIns="182880" tIns="91440" rIns="182880" bIns="91440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EFB26838-7F6E-EDCE-E946-B76C9A0025F1}"/>
                </a:ext>
              </a:extLst>
            </p:cNvPr>
            <p:cNvSpPr txBox="1"/>
            <p:nvPr/>
          </p:nvSpPr>
          <p:spPr>
            <a:xfrm>
              <a:off x="1152862" y="3928777"/>
              <a:ext cx="1205119" cy="646331"/>
            </a:xfrm>
            <a:prstGeom prst="rect">
              <a:avLst/>
            </a:prstGeom>
            <a:noFill/>
          </p:spPr>
          <p:txBody>
            <a:bodyPr wrap="none" lIns="182880" tIns="91440" rIns="182880" bIns="91440" rtlCol="0">
              <a:spAutoFit/>
            </a:bodyPr>
            <a:lstStyle/>
            <a:p>
              <a:pPr marR="0" lvl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4B819"/>
                </a:buClr>
                <a:buSzTx/>
                <a:buFontTx/>
                <a:buNone/>
                <a:tabLst/>
                <a:defRPr/>
              </a:pPr>
              <a:r>
                <a:rPr kumimoji="0" lang="de-DE" sz="3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ighVQData</a:t>
              </a:r>
              <a:r>
                <a:rPr kumimoji="0" lang="de-DE" sz="3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-</a:t>
              </a:r>
              <a:endParaRPr kumimoji="0" lang="de-DE" sz="36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R="0" lvl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4B819"/>
                </a:buClr>
                <a:buSzTx/>
                <a:buFontTx/>
                <a:buNone/>
                <a:tabLst/>
                <a:defRPr/>
              </a:pPr>
              <a:r>
                <a:rPr kumimoji="0" lang="de-DE" sz="36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Konzept</a:t>
              </a:r>
            </a:p>
          </p:txBody>
        </p:sp>
        <p:pic>
          <p:nvPicPr>
            <p:cNvPr id="83" name="Grafik 82">
              <a:extLst>
                <a:ext uri="{FF2B5EF4-FFF2-40B4-BE49-F238E27FC236}">
                  <a16:creationId xmlns:a16="http://schemas.microsoft.com/office/drawing/2014/main" id="{EFDC0F45-FE74-5FA5-C803-A166998909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91622" y="3728636"/>
              <a:ext cx="1114186" cy="97663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4" name="Grafik 83">
              <a:extLst>
                <a:ext uri="{FF2B5EF4-FFF2-40B4-BE49-F238E27FC236}">
                  <a16:creationId xmlns:a16="http://schemas.microsoft.com/office/drawing/2014/main" id="{28D51B72-31B5-2C75-072F-9B51EB14B4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7939" y="3679213"/>
              <a:ext cx="1126227" cy="97663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cxnSp>
          <p:nvCxnSpPr>
            <p:cNvPr id="101" name="Gerade Verbindung mit Pfeil 100">
              <a:extLst>
                <a:ext uri="{FF2B5EF4-FFF2-40B4-BE49-F238E27FC236}">
                  <a16:creationId xmlns:a16="http://schemas.microsoft.com/office/drawing/2014/main" id="{CC9CFBE8-C1EC-071A-8A3A-BB685563B4B3}"/>
                </a:ext>
              </a:extLst>
            </p:cNvPr>
            <p:cNvCxnSpPr>
              <a:cxnSpLocks/>
              <a:stCxn id="80" idx="3"/>
            </p:cNvCxnSpPr>
            <p:nvPr/>
          </p:nvCxnSpPr>
          <p:spPr>
            <a:xfrm>
              <a:off x="2489559" y="4232356"/>
              <a:ext cx="442601" cy="448"/>
            </a:xfrm>
            <a:prstGeom prst="straightConnector1">
              <a:avLst/>
            </a:prstGeom>
            <a:ln w="38100">
              <a:solidFill>
                <a:srgbClr val="0070C0"/>
              </a:solidFill>
              <a:tailEnd type="triangle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mit Pfeil 120">
              <a:extLst>
                <a:ext uri="{FF2B5EF4-FFF2-40B4-BE49-F238E27FC236}">
                  <a16:creationId xmlns:a16="http://schemas.microsoft.com/office/drawing/2014/main" id="{0D105E2D-B5F3-29A0-6F00-90CBD6A58617}"/>
                </a:ext>
              </a:extLst>
            </p:cNvPr>
            <p:cNvCxnSpPr>
              <a:cxnSpLocks/>
            </p:cNvCxnSpPr>
            <p:nvPr/>
          </p:nvCxnSpPr>
          <p:spPr>
            <a:xfrm>
              <a:off x="9388699" y="4230710"/>
              <a:ext cx="367253" cy="340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" name="Textfeld 121">
              <a:extLst>
                <a:ext uri="{FF2B5EF4-FFF2-40B4-BE49-F238E27FC236}">
                  <a16:creationId xmlns:a16="http://schemas.microsoft.com/office/drawing/2014/main" id="{561A0ECD-5750-31FA-E980-A13C49A90E46}"/>
                </a:ext>
              </a:extLst>
            </p:cNvPr>
            <p:cNvSpPr txBox="1"/>
            <p:nvPr/>
          </p:nvSpPr>
          <p:spPr>
            <a:xfrm>
              <a:off x="623735" y="4406263"/>
              <a:ext cx="470532" cy="369332"/>
            </a:xfrm>
            <a:prstGeom prst="rect">
              <a:avLst/>
            </a:prstGeom>
            <a:noFill/>
          </p:spPr>
          <p:txBody>
            <a:bodyPr wrap="none" lIns="182880" tIns="91440" rIns="182880" bIns="91440" rtlCol="0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P1</a:t>
              </a:r>
              <a:endParaRPr kumimoji="0" lang="de-DE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26" name="Gruppieren 125">
              <a:extLst>
                <a:ext uri="{FF2B5EF4-FFF2-40B4-BE49-F238E27FC236}">
                  <a16:creationId xmlns:a16="http://schemas.microsoft.com/office/drawing/2014/main" id="{858ED10B-2DF0-A83A-EBE4-111BCDCB27A9}"/>
                </a:ext>
              </a:extLst>
            </p:cNvPr>
            <p:cNvGrpSpPr/>
            <p:nvPr/>
          </p:nvGrpSpPr>
          <p:grpSpPr>
            <a:xfrm>
              <a:off x="4599537" y="3710798"/>
              <a:ext cx="1361562" cy="1059719"/>
              <a:chOff x="4542221" y="3710798"/>
              <a:chExt cx="1361562" cy="1059719"/>
            </a:xfrm>
          </p:grpSpPr>
          <p:sp>
            <p:nvSpPr>
              <p:cNvPr id="137" name="Rechteck 136">
                <a:extLst>
                  <a:ext uri="{FF2B5EF4-FFF2-40B4-BE49-F238E27FC236}">
                    <a16:creationId xmlns:a16="http://schemas.microsoft.com/office/drawing/2014/main" id="{94A74218-32D5-4028-4231-5BE86C13338D}"/>
                  </a:ext>
                </a:extLst>
              </p:cNvPr>
              <p:cNvSpPr/>
              <p:nvPr/>
            </p:nvSpPr>
            <p:spPr>
              <a:xfrm>
                <a:off x="4570135" y="3710799"/>
                <a:ext cx="1302391" cy="1002658"/>
              </a:xfrm>
              <a:prstGeom prst="rect">
                <a:avLst/>
              </a:prstGeom>
              <a:solidFill>
                <a:schemeClr val="bg1"/>
              </a:solidFill>
              <a:ln w="50800">
                <a:solidFill>
                  <a:srgbClr val="83B725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tIns="91440" rIns="18288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23A09BA5-6A92-A39A-C9A1-9BAF703E13AB}"/>
                  </a:ext>
                </a:extLst>
              </p:cNvPr>
              <p:cNvSpPr txBox="1"/>
              <p:nvPr/>
            </p:nvSpPr>
            <p:spPr>
              <a:xfrm>
                <a:off x="4542221" y="4185741"/>
                <a:ext cx="1361562" cy="584776"/>
              </a:xfrm>
              <a:prstGeom prst="rect">
                <a:avLst/>
              </a:prstGeom>
              <a:noFill/>
            </p:spPr>
            <p:txBody>
              <a:bodyPr wrap="square" lIns="182880" tIns="91440" rIns="182880" bIns="91440" rtlCol="0">
                <a:spAutoFit/>
              </a:bodyPr>
              <a:lstStyle/>
              <a:p>
                <a:pPr marR="0" lvl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84B819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3200" b="1" i="0" u="none" strike="noStrike" kern="0" cap="none" spc="0" normalizeH="0" baseline="0" noProof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odell-unsicherheit</a:t>
                </a:r>
                <a:endParaRPr kumimoji="0" lang="de-DE" sz="2800" b="1" i="0" u="none" strike="noStrike" kern="0" cap="none" spc="0" normalizeH="0" baseline="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0" name="Rechteck 139">
                <a:extLst>
                  <a:ext uri="{FF2B5EF4-FFF2-40B4-BE49-F238E27FC236}">
                    <a16:creationId xmlns:a16="http://schemas.microsoft.com/office/drawing/2014/main" id="{DE60893B-8E53-24F7-6167-9C1D418AF7A5}"/>
                  </a:ext>
                </a:extLst>
              </p:cNvPr>
              <p:cNvSpPr/>
              <p:nvPr/>
            </p:nvSpPr>
            <p:spPr>
              <a:xfrm>
                <a:off x="4570135" y="3710798"/>
                <a:ext cx="1302391" cy="511495"/>
              </a:xfrm>
              <a:prstGeom prst="rect">
                <a:avLst/>
              </a:prstGeom>
              <a:solidFill>
                <a:srgbClr val="83B725"/>
              </a:solidFill>
              <a:ln w="50800">
                <a:solidFill>
                  <a:srgbClr val="83B72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tIns="91440" rIns="182880" bIns="91440" rtlCol="0" anchor="ctr"/>
              <a:lstStyle/>
              <a:p>
                <a:pPr marR="0" lvl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36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Basismodelle</a:t>
                </a:r>
                <a:endParaRPr kumimoji="0" lang="de-DE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7" name="Gruppieren 126">
              <a:extLst>
                <a:ext uri="{FF2B5EF4-FFF2-40B4-BE49-F238E27FC236}">
                  <a16:creationId xmlns:a16="http://schemas.microsoft.com/office/drawing/2014/main" id="{2FB871EE-908F-087E-42A9-86D8717B7986}"/>
                </a:ext>
              </a:extLst>
            </p:cNvPr>
            <p:cNvGrpSpPr/>
            <p:nvPr/>
          </p:nvGrpSpPr>
          <p:grpSpPr>
            <a:xfrm>
              <a:off x="7268086" y="3718798"/>
              <a:ext cx="2055173" cy="1056274"/>
              <a:chOff x="8125994" y="2089297"/>
              <a:chExt cx="2055173" cy="1056274"/>
            </a:xfrm>
          </p:grpSpPr>
          <p:sp>
            <p:nvSpPr>
              <p:cNvPr id="129" name="Rechteck 128">
                <a:extLst>
                  <a:ext uri="{FF2B5EF4-FFF2-40B4-BE49-F238E27FC236}">
                    <a16:creationId xmlns:a16="http://schemas.microsoft.com/office/drawing/2014/main" id="{1ED6AC2F-457C-2952-717B-0651E99B193E}"/>
                  </a:ext>
                </a:extLst>
              </p:cNvPr>
              <p:cNvSpPr/>
              <p:nvPr/>
            </p:nvSpPr>
            <p:spPr>
              <a:xfrm>
                <a:off x="8125994" y="2089298"/>
                <a:ext cx="2055173" cy="1002658"/>
              </a:xfrm>
              <a:prstGeom prst="rect">
                <a:avLst/>
              </a:prstGeom>
              <a:solidFill>
                <a:schemeClr val="bg1"/>
              </a:solidFill>
              <a:ln w="50800">
                <a:solidFill>
                  <a:srgbClr val="83B725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tIns="91440" rIns="18288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6F091FE2-54A9-5AB0-96AB-9035355299F1}"/>
                  </a:ext>
                </a:extLst>
              </p:cNvPr>
              <p:cNvSpPr txBox="1"/>
              <p:nvPr/>
            </p:nvSpPr>
            <p:spPr>
              <a:xfrm>
                <a:off x="8544184" y="2560795"/>
                <a:ext cx="1276697" cy="584776"/>
              </a:xfrm>
              <a:prstGeom prst="rect">
                <a:avLst/>
              </a:prstGeom>
              <a:noFill/>
            </p:spPr>
            <p:txBody>
              <a:bodyPr wrap="square" lIns="182880" tIns="91440" rIns="182880" bIns="91440" rtlCol="0">
                <a:spAutoFit/>
              </a:bodyPr>
              <a:lstStyle/>
              <a:p>
                <a:pPr marR="0" lvl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84B819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3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odell-unsicherheit</a:t>
                </a:r>
              </a:p>
            </p:txBody>
          </p:sp>
          <p:sp>
            <p:nvSpPr>
              <p:cNvPr id="132" name="Rechteck 131">
                <a:extLst>
                  <a:ext uri="{FF2B5EF4-FFF2-40B4-BE49-F238E27FC236}">
                    <a16:creationId xmlns:a16="http://schemas.microsoft.com/office/drawing/2014/main" id="{F6AA07B3-7D1F-F920-762F-7C3576AFC18E}"/>
                  </a:ext>
                </a:extLst>
              </p:cNvPr>
              <p:cNvSpPr/>
              <p:nvPr/>
            </p:nvSpPr>
            <p:spPr>
              <a:xfrm>
                <a:off x="8125994" y="2089297"/>
                <a:ext cx="2055173" cy="511495"/>
              </a:xfrm>
              <a:prstGeom prst="rect">
                <a:avLst/>
              </a:prstGeom>
              <a:solidFill>
                <a:srgbClr val="83B725"/>
              </a:solidFill>
              <a:ln w="50800">
                <a:solidFill>
                  <a:srgbClr val="83B72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tIns="91440" rIns="182880" bIns="91440" rtlCol="0" anchor="ctr"/>
              <a:lstStyle/>
              <a:p>
                <a:pPr marR="0" lvl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36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ozessinformierte Modelle</a:t>
                </a:r>
              </a:p>
            </p:txBody>
          </p:sp>
        </p:grpSp>
      </p:grpSp>
      <p:sp>
        <p:nvSpPr>
          <p:cNvPr id="142" name="Rechteck 141">
            <a:extLst>
              <a:ext uri="{FF2B5EF4-FFF2-40B4-BE49-F238E27FC236}">
                <a16:creationId xmlns:a16="http://schemas.microsoft.com/office/drawing/2014/main" id="{D58A9A04-3CFA-74C3-CD7E-4686482A67C1}"/>
              </a:ext>
            </a:extLst>
          </p:cNvPr>
          <p:cNvSpPr/>
          <p:nvPr/>
        </p:nvSpPr>
        <p:spPr>
          <a:xfrm>
            <a:off x="-16080" y="20251623"/>
            <a:ext cx="30307372" cy="840198"/>
          </a:xfrm>
          <a:prstGeom prst="rect">
            <a:avLst/>
          </a:prstGeom>
          <a:solidFill>
            <a:srgbClr val="83B7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5" name="Textfeld 144">
            <a:extLst>
              <a:ext uri="{FF2B5EF4-FFF2-40B4-BE49-F238E27FC236}">
                <a16:creationId xmlns:a16="http://schemas.microsoft.com/office/drawing/2014/main" id="{176DA749-BB65-DA2A-7717-C00E2A1C3ABE}"/>
              </a:ext>
            </a:extLst>
          </p:cNvPr>
          <p:cNvSpPr txBox="1"/>
          <p:nvPr/>
        </p:nvSpPr>
        <p:spPr>
          <a:xfrm>
            <a:off x="1636713" y="20253583"/>
            <a:ext cx="1517182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84B819"/>
              </a:buClr>
              <a:defRPr/>
            </a:pPr>
            <a:r>
              <a:rPr lang="de-DE" sz="4800" b="1">
                <a:solidFill>
                  <a:schemeClr val="bg1"/>
                </a:solidFill>
              </a:rPr>
              <a:t>Methoden</a:t>
            </a:r>
          </a:p>
        </p:txBody>
      </p:sp>
      <p:pic>
        <p:nvPicPr>
          <p:cNvPr id="147" name="Grafik 146">
            <a:extLst>
              <a:ext uri="{FF2B5EF4-FFF2-40B4-BE49-F238E27FC236}">
                <a16:creationId xmlns:a16="http://schemas.microsoft.com/office/drawing/2014/main" id="{501E940D-3CF8-7446-62DC-C986A920ED74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13866463" y="22516775"/>
            <a:ext cx="605360" cy="605360"/>
          </a:xfrm>
          <a:prstGeom prst="rect">
            <a:avLst/>
          </a:prstGeom>
        </p:spPr>
      </p:pic>
      <p:pic>
        <p:nvPicPr>
          <p:cNvPr id="149" name="Grafik 148">
            <a:extLst>
              <a:ext uri="{FF2B5EF4-FFF2-40B4-BE49-F238E27FC236}">
                <a16:creationId xmlns:a16="http://schemas.microsoft.com/office/drawing/2014/main" id="{1566FFCF-8CDD-4D85-38F4-A7030F450ECE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22599470" y="22584461"/>
            <a:ext cx="605360" cy="605360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0A2DD4E0-4203-29A5-6F7E-3C8F9494A6D5}"/>
              </a:ext>
            </a:extLst>
          </p:cNvPr>
          <p:cNvSpPr/>
          <p:nvPr/>
        </p:nvSpPr>
        <p:spPr>
          <a:xfrm>
            <a:off x="2007353" y="21401466"/>
            <a:ext cx="9049878" cy="2055790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E6EED51E-2608-D3E0-0655-809BA38E34AB}"/>
              </a:ext>
            </a:extLst>
          </p:cNvPr>
          <p:cNvSpPr/>
          <p:nvPr/>
        </p:nvSpPr>
        <p:spPr>
          <a:xfrm>
            <a:off x="10651383" y="21313906"/>
            <a:ext cx="12894413" cy="1115869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177BBC31-8904-CE5C-BE87-03EBA1862008}"/>
              </a:ext>
            </a:extLst>
          </p:cNvPr>
          <p:cNvSpPr/>
          <p:nvPr/>
        </p:nvSpPr>
        <p:spPr>
          <a:xfrm>
            <a:off x="14716330" y="22195155"/>
            <a:ext cx="3198034" cy="1115869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00266EBE-FAB8-68DD-B756-A02400D523EE}"/>
              </a:ext>
            </a:extLst>
          </p:cNvPr>
          <p:cNvSpPr txBox="1"/>
          <p:nvPr/>
        </p:nvSpPr>
        <p:spPr bwMode="auto">
          <a:xfrm>
            <a:off x="1133847" y="29750686"/>
            <a:ext cx="767723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Clr>
                <a:srgbClr val="84B819"/>
              </a:buClr>
              <a:defRPr/>
            </a:pPr>
            <a:r>
              <a:rPr lang="de-DE" sz="3600" b="1" dirty="0">
                <a:solidFill>
                  <a:prstClr val="black"/>
                </a:solidFill>
              </a:rPr>
              <a:t>Methoden der Datenakquise </a:t>
            </a:r>
            <a:r>
              <a:rPr lang="de-DE" sz="3600" b="1" dirty="0" smtClean="0">
                <a:solidFill>
                  <a:prstClr val="black"/>
                </a:solidFill>
              </a:rPr>
              <a:t>und</a:t>
            </a:r>
            <a:endParaRPr lang="de-DE" sz="3600" b="1" dirty="0">
              <a:solidFill>
                <a:prstClr val="black"/>
              </a:solidFill>
            </a:endParaRPr>
          </a:p>
          <a:p>
            <a:pPr algn="ctr">
              <a:spcAft>
                <a:spcPts val="600"/>
              </a:spcAft>
              <a:buClr>
                <a:srgbClr val="84B819"/>
              </a:buClr>
              <a:defRPr/>
            </a:pPr>
            <a:r>
              <a:rPr lang="de-DE" sz="3600" b="1" dirty="0">
                <a:solidFill>
                  <a:prstClr val="black"/>
                </a:solidFill>
              </a:rPr>
              <a:t>Unsicherheitsanalyse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AB867D0-18DB-45A0-B9C9-FEE8F625BDE0}"/>
              </a:ext>
            </a:extLst>
          </p:cNvPr>
          <p:cNvGrpSpPr/>
          <p:nvPr/>
        </p:nvGrpSpPr>
        <p:grpSpPr>
          <a:xfrm>
            <a:off x="1129352" y="31178355"/>
            <a:ext cx="8789026" cy="3784515"/>
            <a:chOff x="738979" y="31177487"/>
            <a:chExt cx="8789026" cy="3784515"/>
          </a:xfrm>
        </p:grpSpPr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57B1A188-D3E7-C073-D5C5-1012C0EA217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98333" y="31177487"/>
              <a:ext cx="7995358" cy="3784515"/>
            </a:xfrm>
            <a:prstGeom prst="rect">
              <a:avLst/>
            </a:prstGeom>
          </p:spPr>
        </p:pic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C3CB32D3-5740-4315-8621-20EED98A8AB3}"/>
                </a:ext>
              </a:extLst>
            </p:cNvPr>
            <p:cNvGrpSpPr/>
            <p:nvPr/>
          </p:nvGrpSpPr>
          <p:grpSpPr>
            <a:xfrm>
              <a:off x="738979" y="31199640"/>
              <a:ext cx="8789026" cy="3376041"/>
              <a:chOff x="738979" y="31199640"/>
              <a:chExt cx="8789026" cy="3376041"/>
            </a:xfrm>
          </p:grpSpPr>
          <p:sp>
            <p:nvSpPr>
              <p:cNvPr id="40" name="Rechteck 39">
                <a:extLst>
                  <a:ext uri="{FF2B5EF4-FFF2-40B4-BE49-F238E27FC236}">
                    <a16:creationId xmlns:a16="http://schemas.microsoft.com/office/drawing/2014/main" id="{C06DFA61-B648-FECC-026C-2A0C7E2F0197}"/>
                  </a:ext>
                </a:extLst>
              </p:cNvPr>
              <p:cNvSpPr/>
              <p:nvPr/>
            </p:nvSpPr>
            <p:spPr>
              <a:xfrm>
                <a:off x="8489349" y="31787588"/>
                <a:ext cx="558674" cy="62785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68" name="Ellipse 267">
                <a:extLst>
                  <a:ext uri="{FF2B5EF4-FFF2-40B4-BE49-F238E27FC236}">
                    <a16:creationId xmlns:a16="http://schemas.microsoft.com/office/drawing/2014/main" id="{89C5BB25-9269-4817-9D67-6A8117C19D62}"/>
                  </a:ext>
                </a:extLst>
              </p:cNvPr>
              <p:cNvSpPr/>
              <p:nvPr/>
            </p:nvSpPr>
            <p:spPr>
              <a:xfrm>
                <a:off x="6703925" y="32371554"/>
                <a:ext cx="2824080" cy="161577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dirty="0" err="1"/>
                  <a:t>Datenqualität</a:t>
                </a:r>
                <a:r>
                  <a:rPr lang="en-US" sz="2400" dirty="0"/>
                  <a:t> </a:t>
                </a:r>
                <a:r>
                  <a:rPr lang="en-US" sz="2400" dirty="0" smtClean="0"/>
                  <a:t>und </a:t>
                </a:r>
                <a:r>
                  <a:rPr lang="en-US" sz="2400" dirty="0"/>
                  <a:t>Mess-</a:t>
                </a:r>
                <a:r>
                  <a:rPr lang="en-US" sz="2400" dirty="0" err="1"/>
                  <a:t>unsicherheit</a:t>
                </a:r>
                <a:endParaRPr lang="en-US" sz="2400" dirty="0"/>
              </a:p>
            </p:txBody>
          </p:sp>
          <p:sp>
            <p:nvSpPr>
              <p:cNvPr id="269" name="Rechteck 268">
                <a:extLst>
                  <a:ext uri="{FF2B5EF4-FFF2-40B4-BE49-F238E27FC236}">
                    <a16:creationId xmlns:a16="http://schemas.microsoft.com/office/drawing/2014/main" id="{596EDB28-F921-4EB3-A2C7-2C2617FE6CD6}"/>
                  </a:ext>
                </a:extLst>
              </p:cNvPr>
              <p:cNvSpPr/>
              <p:nvPr/>
            </p:nvSpPr>
            <p:spPr>
              <a:xfrm>
                <a:off x="2409380" y="31201552"/>
                <a:ext cx="1947173" cy="30777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800" b="1" dirty="0" err="1">
                    <a:solidFill>
                      <a:schemeClr val="tx1"/>
                    </a:solidFill>
                  </a:rPr>
                  <a:t>Ursachen</a:t>
                </a:r>
                <a:endParaRPr lang="en-US" sz="28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8" name="Rechteck 277">
                <a:extLst>
                  <a:ext uri="{FF2B5EF4-FFF2-40B4-BE49-F238E27FC236}">
                    <a16:creationId xmlns:a16="http://schemas.microsoft.com/office/drawing/2014/main" id="{A73B22FF-8FB8-476B-A206-C789660FF18D}"/>
                  </a:ext>
                </a:extLst>
              </p:cNvPr>
              <p:cNvSpPr/>
              <p:nvPr/>
            </p:nvSpPr>
            <p:spPr>
              <a:xfrm>
                <a:off x="6697915" y="31199640"/>
                <a:ext cx="1947173" cy="30777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800" b="1" dirty="0" err="1">
                    <a:solidFill>
                      <a:schemeClr val="tx1"/>
                    </a:solidFill>
                  </a:rPr>
                  <a:t>Wirkung</a:t>
                </a:r>
                <a:endParaRPr lang="en-US" sz="28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9" name="Rechteck 278">
                <a:extLst>
                  <a:ext uri="{FF2B5EF4-FFF2-40B4-BE49-F238E27FC236}">
                    <a16:creationId xmlns:a16="http://schemas.microsoft.com/office/drawing/2014/main" id="{B3D470D1-CC5D-4BF8-B5A3-C347217713DA}"/>
                  </a:ext>
                </a:extLst>
              </p:cNvPr>
              <p:cNvSpPr/>
              <p:nvPr/>
            </p:nvSpPr>
            <p:spPr>
              <a:xfrm>
                <a:off x="742344" y="31799634"/>
                <a:ext cx="1728000" cy="433510"/>
              </a:xfrm>
              <a:prstGeom prst="rect">
                <a:avLst/>
              </a:prstGeom>
              <a:solidFill>
                <a:srgbClr val="0A7B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800" dirty="0">
                    <a:solidFill>
                      <a:schemeClr val="bg1"/>
                    </a:solidFill>
                  </a:rPr>
                  <a:t>Mensch</a:t>
                </a:r>
              </a:p>
            </p:txBody>
          </p:sp>
          <p:sp>
            <p:nvSpPr>
              <p:cNvPr id="288" name="Rechteck 287">
                <a:extLst>
                  <a:ext uri="{FF2B5EF4-FFF2-40B4-BE49-F238E27FC236}">
                    <a16:creationId xmlns:a16="http://schemas.microsoft.com/office/drawing/2014/main" id="{721D19CB-B483-45B5-84D9-F9CA77045E26}"/>
                  </a:ext>
                </a:extLst>
              </p:cNvPr>
              <p:cNvSpPr/>
              <p:nvPr/>
            </p:nvSpPr>
            <p:spPr>
              <a:xfrm>
                <a:off x="2604727" y="31799634"/>
                <a:ext cx="1728000" cy="433510"/>
              </a:xfrm>
              <a:prstGeom prst="rect">
                <a:avLst/>
              </a:prstGeom>
              <a:solidFill>
                <a:srgbClr val="0A7B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800" dirty="0" err="1">
                    <a:solidFill>
                      <a:schemeClr val="bg1"/>
                    </a:solidFill>
                  </a:rPr>
                  <a:t>Maschine</a:t>
                </a:r>
                <a:endParaRPr lang="en-US" sz="2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92" name="Rechteck 291">
                <a:extLst>
                  <a:ext uri="{FF2B5EF4-FFF2-40B4-BE49-F238E27FC236}">
                    <a16:creationId xmlns:a16="http://schemas.microsoft.com/office/drawing/2014/main" id="{9563CEBB-8D27-4AF5-A69C-8FD9A7BB0572}"/>
                  </a:ext>
                </a:extLst>
              </p:cNvPr>
              <p:cNvSpPr/>
              <p:nvPr/>
            </p:nvSpPr>
            <p:spPr>
              <a:xfrm>
                <a:off x="4467110" y="31799634"/>
                <a:ext cx="1728000" cy="433510"/>
              </a:xfrm>
              <a:prstGeom prst="rect">
                <a:avLst/>
              </a:prstGeom>
              <a:solidFill>
                <a:srgbClr val="0A7B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800" dirty="0">
                    <a:solidFill>
                      <a:schemeClr val="bg1"/>
                    </a:solidFill>
                  </a:rPr>
                  <a:t>Milieu</a:t>
                </a:r>
              </a:p>
            </p:txBody>
          </p:sp>
          <p:sp>
            <p:nvSpPr>
              <p:cNvPr id="297" name="Rechteck 296">
                <a:extLst>
                  <a:ext uri="{FF2B5EF4-FFF2-40B4-BE49-F238E27FC236}">
                    <a16:creationId xmlns:a16="http://schemas.microsoft.com/office/drawing/2014/main" id="{61FB45F9-93AF-45D7-8837-CFEE9C212532}"/>
                  </a:ext>
                </a:extLst>
              </p:cNvPr>
              <p:cNvSpPr/>
              <p:nvPr/>
            </p:nvSpPr>
            <p:spPr>
              <a:xfrm>
                <a:off x="738979" y="34142171"/>
                <a:ext cx="1728000" cy="433510"/>
              </a:xfrm>
              <a:prstGeom prst="rect">
                <a:avLst/>
              </a:prstGeom>
              <a:solidFill>
                <a:srgbClr val="0A7B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800" dirty="0">
                    <a:solidFill>
                      <a:schemeClr val="bg1"/>
                    </a:solidFill>
                  </a:rPr>
                  <a:t>Material</a:t>
                </a:r>
              </a:p>
            </p:txBody>
          </p:sp>
          <p:sp>
            <p:nvSpPr>
              <p:cNvPr id="298" name="Rechteck 297">
                <a:extLst>
                  <a:ext uri="{FF2B5EF4-FFF2-40B4-BE49-F238E27FC236}">
                    <a16:creationId xmlns:a16="http://schemas.microsoft.com/office/drawing/2014/main" id="{17D891BF-7EAF-46D5-9420-BA4EEC20215C}"/>
                  </a:ext>
                </a:extLst>
              </p:cNvPr>
              <p:cNvSpPr/>
              <p:nvPr/>
            </p:nvSpPr>
            <p:spPr>
              <a:xfrm>
                <a:off x="2601362" y="34142171"/>
                <a:ext cx="1728000" cy="433510"/>
              </a:xfrm>
              <a:prstGeom prst="rect">
                <a:avLst/>
              </a:prstGeom>
              <a:solidFill>
                <a:srgbClr val="0A7B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800" dirty="0" err="1">
                    <a:solidFill>
                      <a:schemeClr val="bg1"/>
                    </a:solidFill>
                  </a:rPr>
                  <a:t>Methode</a:t>
                </a:r>
                <a:endParaRPr lang="en-US" sz="2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99" name="Rechteck 298">
                <a:extLst>
                  <a:ext uri="{FF2B5EF4-FFF2-40B4-BE49-F238E27FC236}">
                    <a16:creationId xmlns:a16="http://schemas.microsoft.com/office/drawing/2014/main" id="{0B23E997-2BB0-4B83-B941-02BC75F00BA6}"/>
                  </a:ext>
                </a:extLst>
              </p:cNvPr>
              <p:cNvSpPr/>
              <p:nvPr/>
            </p:nvSpPr>
            <p:spPr>
              <a:xfrm>
                <a:off x="4463745" y="34142171"/>
                <a:ext cx="1728000" cy="433510"/>
              </a:xfrm>
              <a:prstGeom prst="rect">
                <a:avLst/>
              </a:prstGeom>
              <a:solidFill>
                <a:srgbClr val="0A7B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800" dirty="0" err="1">
                    <a:solidFill>
                      <a:schemeClr val="bg1"/>
                    </a:solidFill>
                  </a:rPr>
                  <a:t>Messung</a:t>
                </a:r>
                <a:endParaRPr lang="en-US" sz="2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A8DE9270-35EF-48B4-9CF0-A6F2969AFB87}"/>
                  </a:ext>
                </a:extLst>
              </p:cNvPr>
              <p:cNvSpPr txBox="1"/>
              <p:nvPr/>
            </p:nvSpPr>
            <p:spPr bwMode="auto">
              <a:xfrm>
                <a:off x="774522" y="32840423"/>
                <a:ext cx="5876774" cy="646331"/>
              </a:xfrm>
              <a:prstGeom prst="rect">
                <a:avLst/>
              </a:prstGeom>
              <a:solidFill>
                <a:schemeClr val="bg1">
                  <a:alpha val="8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>
                  <a:spcAft>
                    <a:spcPts val="600"/>
                  </a:spcAft>
                  <a:buClr>
                    <a:srgbClr val="84B819"/>
                  </a:buClr>
                  <a:defRPr/>
                </a:pPr>
                <a:r>
                  <a:rPr lang="de-DE" sz="3600" b="1" dirty="0">
                    <a:solidFill>
                      <a:prstClr val="black"/>
                    </a:solidFill>
                  </a:rPr>
                  <a:t>Ishikawa-Diagramm</a:t>
                </a:r>
              </a:p>
            </p:txBody>
          </p:sp>
        </p:grpSp>
      </p:grpSp>
      <p:sp>
        <p:nvSpPr>
          <p:cNvPr id="293" name="Textfeld 292">
            <a:extLst>
              <a:ext uri="{FF2B5EF4-FFF2-40B4-BE49-F238E27FC236}">
                <a16:creationId xmlns:a16="http://schemas.microsoft.com/office/drawing/2014/main" id="{6A426648-A00A-E771-D2D8-C5933BFC7667}"/>
              </a:ext>
            </a:extLst>
          </p:cNvPr>
          <p:cNvSpPr txBox="1">
            <a:spLocks/>
          </p:cNvSpPr>
          <p:nvPr/>
        </p:nvSpPr>
        <p:spPr>
          <a:xfrm>
            <a:off x="8465161" y="34114414"/>
            <a:ext cx="1555090" cy="646331"/>
          </a:xfrm>
          <a:prstGeom prst="rect">
            <a:avLst/>
          </a:prstGeom>
          <a:solidFill>
            <a:srgbClr val="369682"/>
          </a:solidFill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56032" tIns="128016" rIns="256032" bIns="128016" rtlCol="0" anchor="ctr"/>
          <a:lstStyle>
            <a:defPPr>
              <a:defRPr lang="de-DE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bk</a:t>
            </a:r>
            <a:endParaRPr kumimoji="0" lang="de-DE" sz="392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0E16C7FF-C3F9-D5E5-A7D6-B7F1BEC21B8C}"/>
              </a:ext>
            </a:extLst>
          </p:cNvPr>
          <p:cNvSpPr txBox="1"/>
          <p:nvPr/>
        </p:nvSpPr>
        <p:spPr>
          <a:xfrm>
            <a:off x="17294256" y="7577932"/>
            <a:ext cx="14406603" cy="935640"/>
          </a:xfrm>
          <a:prstGeom prst="rect">
            <a:avLst/>
          </a:prstGeom>
          <a:noFill/>
        </p:spPr>
        <p:txBody>
          <a:bodyPr wrap="square" lIns="256032" tIns="128016" rIns="256032" bIns="128016" rtlCol="0">
            <a:spAutoFit/>
          </a:bodyPr>
          <a:lstStyle/>
          <a:p>
            <a:r>
              <a:rPr lang="de-DE" sz="4400" b="1" dirty="0">
                <a:solidFill>
                  <a:srgbClr val="3F3F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ierungen im Bereich Messtechnik</a:t>
            </a:r>
            <a:endParaRPr lang="de-DE" sz="4400" b="1" baseline="-25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379A82AC-222F-8DD3-F80B-8FCD2CC467B7}"/>
              </a:ext>
            </a:extLst>
          </p:cNvPr>
          <p:cNvSpPr txBox="1"/>
          <p:nvPr/>
        </p:nvSpPr>
        <p:spPr>
          <a:xfrm>
            <a:off x="15607513" y="8224150"/>
            <a:ext cx="14116976" cy="1366529"/>
          </a:xfrm>
          <a:prstGeom prst="rect">
            <a:avLst/>
          </a:prstGeom>
          <a:noFill/>
        </p:spPr>
        <p:txBody>
          <a:bodyPr wrap="square" lIns="256032" tIns="128016" rIns="256032" bIns="128016" rtlCol="0">
            <a:spAutoFit/>
          </a:bodyPr>
          <a:lstStyle/>
          <a:p>
            <a:pPr lvl="0">
              <a:buClr>
                <a:schemeClr val="accent6"/>
              </a:buClr>
              <a:defRPr/>
            </a:pPr>
            <a:r>
              <a:rPr lang="de-DE" sz="3600" u="sng" dirty="0">
                <a:latin typeface="Arial" panose="020B0604020202020204" pitchFamily="34" charset="0"/>
                <a:cs typeface="Arial" panose="020B0604020202020204" pitchFamily="34" charset="0"/>
              </a:rPr>
              <a:t>Modell zur Simulationsbasierten Approximation der Einflankenwälzprüfung</a:t>
            </a:r>
          </a:p>
        </p:txBody>
      </p:sp>
      <p:grpSp>
        <p:nvGrpSpPr>
          <p:cNvPr id="163" name="Gruppieren 162">
            <a:extLst>
              <a:ext uri="{FF2B5EF4-FFF2-40B4-BE49-F238E27FC236}">
                <a16:creationId xmlns:a16="http://schemas.microsoft.com/office/drawing/2014/main" id="{35CEA902-93BB-9B39-6575-9CC69067B22B}"/>
              </a:ext>
            </a:extLst>
          </p:cNvPr>
          <p:cNvGrpSpPr/>
          <p:nvPr/>
        </p:nvGrpSpPr>
        <p:grpSpPr>
          <a:xfrm>
            <a:off x="15683524" y="9734040"/>
            <a:ext cx="10604349" cy="4739810"/>
            <a:chOff x="16561706" y="9837263"/>
            <a:chExt cx="10604349" cy="4739810"/>
          </a:xfrm>
        </p:grpSpPr>
        <p:grpSp>
          <p:nvGrpSpPr>
            <p:cNvPr id="160" name="Gruppieren 159">
              <a:extLst>
                <a:ext uri="{FF2B5EF4-FFF2-40B4-BE49-F238E27FC236}">
                  <a16:creationId xmlns:a16="http://schemas.microsoft.com/office/drawing/2014/main" id="{BFBF598B-E09F-E888-04F5-3141D214A7CA}"/>
                </a:ext>
              </a:extLst>
            </p:cNvPr>
            <p:cNvGrpSpPr/>
            <p:nvPr/>
          </p:nvGrpSpPr>
          <p:grpSpPr>
            <a:xfrm>
              <a:off x="16561706" y="9837263"/>
              <a:ext cx="10604349" cy="4739810"/>
              <a:chOff x="16561706" y="9837263"/>
              <a:chExt cx="10604349" cy="4739810"/>
            </a:xfrm>
          </p:grpSpPr>
          <p:pic>
            <p:nvPicPr>
              <p:cNvPr id="59" name="Grafik 58">
                <a:extLst>
                  <a:ext uri="{FF2B5EF4-FFF2-40B4-BE49-F238E27FC236}">
                    <a16:creationId xmlns:a16="http://schemas.microsoft.com/office/drawing/2014/main" id="{00E60649-316D-3001-C38D-448BC0F341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/>
              <a:srcRect b="11065"/>
              <a:stretch>
                <a:fillRect/>
              </a:stretch>
            </p:blipFill>
            <p:spPr>
              <a:xfrm>
                <a:off x="16653088" y="9837263"/>
                <a:ext cx="10512967" cy="4533951"/>
              </a:xfrm>
              <a:prstGeom prst="rect">
                <a:avLst/>
              </a:prstGeom>
            </p:spPr>
          </p:pic>
          <p:sp>
            <p:nvSpPr>
              <p:cNvPr id="64" name="Rechteck 63">
                <a:extLst>
                  <a:ext uri="{FF2B5EF4-FFF2-40B4-BE49-F238E27FC236}">
                    <a16:creationId xmlns:a16="http://schemas.microsoft.com/office/drawing/2014/main" id="{8E260126-2633-2155-17D5-DC4586319804}"/>
                  </a:ext>
                </a:extLst>
              </p:cNvPr>
              <p:cNvSpPr/>
              <p:nvPr/>
            </p:nvSpPr>
            <p:spPr>
              <a:xfrm rot="16200000">
                <a:off x="14951097" y="11635090"/>
                <a:ext cx="3869922" cy="648704"/>
              </a:xfrm>
              <a:prstGeom prst="rect">
                <a:avLst/>
              </a:prstGeom>
              <a:solidFill>
                <a:schemeClr val="bg1"/>
              </a:solidFill>
              <a:ln w="7112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6032" tIns="128016" rIns="256032" bIns="128016" rtlCol="0" anchor="ctr"/>
              <a:lstStyle/>
              <a:p>
                <a:pPr algn="ctr"/>
                <a:r>
                  <a:rPr lang="de-DE" sz="28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bweichung in [</a:t>
                </a:r>
                <a:r>
                  <a:rPr lang="el-GR" sz="28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μ</a:t>
                </a:r>
                <a:r>
                  <a:rPr lang="de-DE" sz="28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]</a:t>
                </a:r>
              </a:p>
            </p:txBody>
          </p:sp>
          <p:sp>
            <p:nvSpPr>
              <p:cNvPr id="65" name="Rechteck 64">
                <a:extLst>
                  <a:ext uri="{FF2B5EF4-FFF2-40B4-BE49-F238E27FC236}">
                    <a16:creationId xmlns:a16="http://schemas.microsoft.com/office/drawing/2014/main" id="{5EB1355D-18B6-07EB-CC58-59506CC7DE8D}"/>
                  </a:ext>
                </a:extLst>
              </p:cNvPr>
              <p:cNvSpPr/>
              <p:nvPr/>
            </p:nvSpPr>
            <p:spPr>
              <a:xfrm>
                <a:off x="17523340" y="13928369"/>
                <a:ext cx="8235598" cy="648704"/>
              </a:xfrm>
              <a:prstGeom prst="rect">
                <a:avLst/>
              </a:prstGeom>
              <a:solidFill>
                <a:schemeClr val="bg1"/>
              </a:solidFill>
              <a:ln w="7112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6032" tIns="128016" rIns="256032" bIns="128016" rtlCol="0" anchor="ctr"/>
              <a:lstStyle/>
              <a:p>
                <a:pPr algn="ctr"/>
                <a:r>
                  <a:rPr lang="de-DE" sz="28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inkel in [°]</a:t>
                </a:r>
              </a:p>
            </p:txBody>
          </p:sp>
          <p:grpSp>
            <p:nvGrpSpPr>
              <p:cNvPr id="66" name="Gruppieren 65">
                <a:extLst>
                  <a:ext uri="{FF2B5EF4-FFF2-40B4-BE49-F238E27FC236}">
                    <a16:creationId xmlns:a16="http://schemas.microsoft.com/office/drawing/2014/main" id="{EA945D73-43C2-F59C-2F45-D61165483D6E}"/>
                  </a:ext>
                </a:extLst>
              </p:cNvPr>
              <p:cNvGrpSpPr/>
              <p:nvPr/>
            </p:nvGrpSpPr>
            <p:grpSpPr>
              <a:xfrm>
                <a:off x="17550869" y="10124526"/>
                <a:ext cx="3175528" cy="1360472"/>
                <a:chOff x="8398691" y="1995828"/>
                <a:chExt cx="1134117" cy="485883"/>
              </a:xfrm>
            </p:grpSpPr>
            <p:sp>
              <p:nvSpPr>
                <p:cNvPr id="67" name="Rechteck 66">
                  <a:extLst>
                    <a:ext uri="{FF2B5EF4-FFF2-40B4-BE49-F238E27FC236}">
                      <a16:creationId xmlns:a16="http://schemas.microsoft.com/office/drawing/2014/main" id="{8A31E02D-FE1B-C353-436F-86DB4F8C58C1}"/>
                    </a:ext>
                  </a:extLst>
                </p:cNvPr>
                <p:cNvSpPr/>
                <p:nvPr/>
              </p:nvSpPr>
              <p:spPr>
                <a:xfrm>
                  <a:off x="8398691" y="1995828"/>
                  <a:ext cx="1082281" cy="485883"/>
                </a:xfrm>
                <a:prstGeom prst="rect">
                  <a:avLst/>
                </a:prstGeom>
                <a:solidFill>
                  <a:schemeClr val="bg1"/>
                </a:solidFill>
                <a:ln w="1778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256032" tIns="128016" rIns="256032" bIns="128016" rtlCol="0" anchor="ctr"/>
                <a:lstStyle/>
                <a:p>
                  <a:pPr algn="ctr"/>
                  <a:endParaRPr lang="de-DE"/>
                </a:p>
              </p:txBody>
            </p:sp>
            <p:grpSp>
              <p:nvGrpSpPr>
                <p:cNvPr id="68" name="Gruppieren 67">
                  <a:extLst>
                    <a:ext uri="{FF2B5EF4-FFF2-40B4-BE49-F238E27FC236}">
                      <a16:creationId xmlns:a16="http://schemas.microsoft.com/office/drawing/2014/main" id="{53C543E9-6D6B-5FF3-1071-0FA1F0ABADA3}"/>
                    </a:ext>
                  </a:extLst>
                </p:cNvPr>
                <p:cNvGrpSpPr/>
                <p:nvPr/>
              </p:nvGrpSpPr>
              <p:grpSpPr>
                <a:xfrm>
                  <a:off x="8417930" y="2017337"/>
                  <a:ext cx="1114878" cy="442070"/>
                  <a:chOff x="9550400" y="3380998"/>
                  <a:chExt cx="1114878" cy="442070"/>
                </a:xfrm>
              </p:grpSpPr>
              <p:sp>
                <p:nvSpPr>
                  <p:cNvPr id="69" name="Rechteck 68">
                    <a:extLst>
                      <a:ext uri="{FF2B5EF4-FFF2-40B4-BE49-F238E27FC236}">
                        <a16:creationId xmlns:a16="http://schemas.microsoft.com/office/drawing/2014/main" id="{329E7012-28E0-E1A1-ACD3-6EACED8ADB0D}"/>
                      </a:ext>
                    </a:extLst>
                  </p:cNvPr>
                  <p:cNvSpPr/>
                  <p:nvPr/>
                </p:nvSpPr>
                <p:spPr>
                  <a:xfrm>
                    <a:off x="9622548" y="3591388"/>
                    <a:ext cx="882037" cy="231680"/>
                  </a:xfrm>
                  <a:prstGeom prst="rect">
                    <a:avLst/>
                  </a:prstGeom>
                  <a:solidFill>
                    <a:schemeClr val="bg1"/>
                  </a:solidFill>
                  <a:ln w="71120"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256032" tIns="128016" rIns="256032" bIns="128016" rtlCol="0" anchor="ctr"/>
                  <a:lstStyle/>
                  <a:p>
                    <a:r>
                      <a:rPr lang="de-DE" sz="2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Sinus-Fit</a:t>
                    </a:r>
                  </a:p>
                </p:txBody>
              </p:sp>
              <p:sp>
                <p:nvSpPr>
                  <p:cNvPr id="70" name="Rechteck 69">
                    <a:extLst>
                      <a:ext uri="{FF2B5EF4-FFF2-40B4-BE49-F238E27FC236}">
                        <a16:creationId xmlns:a16="http://schemas.microsoft.com/office/drawing/2014/main" id="{EE6BCD6B-5561-E85C-B678-A9B5DBDCC8C6}"/>
                      </a:ext>
                    </a:extLst>
                  </p:cNvPr>
                  <p:cNvSpPr/>
                  <p:nvPr/>
                </p:nvSpPr>
                <p:spPr>
                  <a:xfrm>
                    <a:off x="9622548" y="3380998"/>
                    <a:ext cx="1042730" cy="231680"/>
                  </a:xfrm>
                  <a:prstGeom prst="rect">
                    <a:avLst/>
                  </a:prstGeom>
                  <a:noFill/>
                  <a:ln w="71120"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256032" tIns="128016" rIns="256032" bIns="128016" rtlCol="0" anchor="ctr"/>
                  <a:lstStyle/>
                  <a:p>
                    <a:r>
                      <a:rPr lang="de-DE" sz="2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Drehwegfehler</a:t>
                    </a:r>
                  </a:p>
                </p:txBody>
              </p:sp>
              <p:cxnSp>
                <p:nvCxnSpPr>
                  <p:cNvPr id="133" name="Gerader Verbinder 132">
                    <a:extLst>
                      <a:ext uri="{FF2B5EF4-FFF2-40B4-BE49-F238E27FC236}">
                        <a16:creationId xmlns:a16="http://schemas.microsoft.com/office/drawing/2014/main" id="{66CEF382-05E2-50C7-8459-75A52E4FCE0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550400" y="3491734"/>
                    <a:ext cx="125774" cy="0"/>
                  </a:xfrm>
                  <a:prstGeom prst="line">
                    <a:avLst/>
                  </a:prstGeom>
                  <a:ln w="80010">
                    <a:solidFill>
                      <a:srgbClr val="02365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Gerader Verbinder 140">
                    <a:extLst>
                      <a:ext uri="{FF2B5EF4-FFF2-40B4-BE49-F238E27FC236}">
                        <a16:creationId xmlns:a16="http://schemas.microsoft.com/office/drawing/2014/main" id="{E4EFF2C5-49C5-D90D-2CFB-5B38E8C7E0B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550400" y="3719796"/>
                    <a:ext cx="125774" cy="0"/>
                  </a:xfrm>
                  <a:prstGeom prst="line">
                    <a:avLst/>
                  </a:prstGeom>
                  <a:ln w="80010">
                    <a:solidFill>
                      <a:srgbClr val="007C88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sp>
          <p:nvSpPr>
            <p:cNvPr id="161" name="Rechteck 160">
              <a:extLst>
                <a:ext uri="{FF2B5EF4-FFF2-40B4-BE49-F238E27FC236}">
                  <a16:creationId xmlns:a16="http://schemas.microsoft.com/office/drawing/2014/main" id="{5C30BCD4-5521-F214-4D5D-250BE0B8760C}"/>
                </a:ext>
              </a:extLst>
            </p:cNvPr>
            <p:cNvSpPr/>
            <p:nvPr/>
          </p:nvSpPr>
          <p:spPr>
            <a:xfrm>
              <a:off x="23166730" y="10161037"/>
              <a:ext cx="3461524" cy="552864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1" name="Textfeld 60">
            <a:extLst>
              <a:ext uri="{FF2B5EF4-FFF2-40B4-BE49-F238E27FC236}">
                <a16:creationId xmlns:a16="http://schemas.microsoft.com/office/drawing/2014/main" id="{5C91EE36-7CE2-F8A9-75E1-3C7BC989EB4A}"/>
              </a:ext>
            </a:extLst>
          </p:cNvPr>
          <p:cNvSpPr txBox="1"/>
          <p:nvPr/>
        </p:nvSpPr>
        <p:spPr>
          <a:xfrm>
            <a:off x="22341684" y="9401296"/>
            <a:ext cx="3676005" cy="689419"/>
          </a:xfrm>
          <a:prstGeom prst="rect">
            <a:avLst/>
          </a:prstGeom>
          <a:noFill/>
        </p:spPr>
        <p:txBody>
          <a:bodyPr wrap="none" lIns="256032" tIns="128016" rIns="256032" bIns="128016" rtlCol="0" anchor="t">
            <a:spAutoFit/>
          </a:bodyPr>
          <a:lstStyle/>
          <a:p>
            <a:pPr algn="ctr"/>
            <a:r>
              <a:rPr lang="de-DE" sz="2800" dirty="0" err="1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Gauder</a:t>
            </a:r>
            <a:r>
              <a:rPr lang="de-DE" sz="28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 </a:t>
            </a:r>
            <a:r>
              <a:rPr lang="de-DE" sz="280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et al., 2023</a:t>
            </a:r>
            <a:endParaRPr lang="de-DE" sz="2800" baseline="-25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015E0B54-52E6-2F7F-4628-21D47F91DC7B}"/>
              </a:ext>
            </a:extLst>
          </p:cNvPr>
          <p:cNvSpPr txBox="1"/>
          <p:nvPr/>
        </p:nvSpPr>
        <p:spPr>
          <a:xfrm>
            <a:off x="27830808" y="9039915"/>
            <a:ext cx="1595509" cy="644039"/>
          </a:xfrm>
          <a:prstGeom prst="rect">
            <a:avLst/>
          </a:prstGeom>
          <a:solidFill>
            <a:srgbClr val="369682"/>
          </a:solidFill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56032" tIns="128016" rIns="256032" bIns="128016" rtlCol="0" anchor="ctr"/>
          <a:lstStyle>
            <a:defPPr>
              <a:defRPr lang="de-DE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algn="ctr"/>
            <a:r>
              <a:rPr lang="de-DE" sz="3600" dirty="0"/>
              <a:t>wbk</a:t>
            </a:r>
          </a:p>
        </p:txBody>
      </p: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96BEE8F7-37F2-32B1-5D36-18141FA8C890}"/>
              </a:ext>
            </a:extLst>
          </p:cNvPr>
          <p:cNvGrpSpPr/>
          <p:nvPr/>
        </p:nvGrpSpPr>
        <p:grpSpPr>
          <a:xfrm>
            <a:off x="22599465" y="11294536"/>
            <a:ext cx="6740358" cy="3152122"/>
            <a:chOff x="10232597" y="2585086"/>
            <a:chExt cx="2407271" cy="1125758"/>
          </a:xfrm>
        </p:grpSpPr>
        <p:pic>
          <p:nvPicPr>
            <p:cNvPr id="144" name="Grafik 143">
              <a:extLst>
                <a:ext uri="{FF2B5EF4-FFF2-40B4-BE49-F238E27FC236}">
                  <a16:creationId xmlns:a16="http://schemas.microsoft.com/office/drawing/2014/main" id="{CD40AEAB-10EB-EED2-A6F5-E0AF5A22D3DF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11217"/>
            <a:stretch>
              <a:fillRect/>
            </a:stretch>
          </p:blipFill>
          <p:spPr>
            <a:xfrm>
              <a:off x="10390373" y="2585086"/>
              <a:ext cx="2136804" cy="1125758"/>
            </a:xfrm>
            <a:prstGeom prst="rect">
              <a:avLst/>
            </a:prstGeom>
          </p:spPr>
        </p:pic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45D1F261-BAD8-5DE1-B06C-6446C83D2772}"/>
                </a:ext>
              </a:extLst>
            </p:cNvPr>
            <p:cNvSpPr/>
            <p:nvPr/>
          </p:nvSpPr>
          <p:spPr>
            <a:xfrm>
              <a:off x="10403398" y="2590678"/>
              <a:ext cx="735365" cy="231680"/>
            </a:xfrm>
            <a:prstGeom prst="rect">
              <a:avLst/>
            </a:prstGeom>
            <a:solidFill>
              <a:schemeClr val="bg1"/>
            </a:solidFill>
            <a:ln w="7112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6032" tIns="128016" rIns="256032" bIns="128016" rtlCol="0" anchor="ctr"/>
            <a:lstStyle/>
            <a:p>
              <a:pPr algn="ctr"/>
              <a:r>
                <a:rPr lang="de-DE" sz="2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irnseite</a:t>
              </a:r>
            </a:p>
          </p:txBody>
        </p:sp>
        <p:sp>
          <p:nvSpPr>
            <p:cNvPr id="156" name="Rechteck 155">
              <a:extLst>
                <a:ext uri="{FF2B5EF4-FFF2-40B4-BE49-F238E27FC236}">
                  <a16:creationId xmlns:a16="http://schemas.microsoft.com/office/drawing/2014/main" id="{1782DA9A-EE33-B4BE-209E-7A60ED6AB3AC}"/>
                </a:ext>
              </a:extLst>
            </p:cNvPr>
            <p:cNvSpPr/>
            <p:nvPr/>
          </p:nvSpPr>
          <p:spPr>
            <a:xfrm>
              <a:off x="10232597" y="2852286"/>
              <a:ext cx="906167" cy="231680"/>
            </a:xfrm>
            <a:prstGeom prst="rect">
              <a:avLst/>
            </a:prstGeom>
            <a:solidFill>
              <a:schemeClr val="bg1">
                <a:alpha val="82000"/>
              </a:schemeClr>
            </a:solidFill>
            <a:ln w="7112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6032" tIns="128016" rIns="256032" bIns="128016" rtlCol="0" anchor="ctr"/>
            <a:lstStyle/>
            <a:p>
              <a:pPr algn="ctr"/>
              <a:r>
                <a:rPr lang="de-DE" sz="2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nke Flanke</a:t>
              </a:r>
            </a:p>
          </p:txBody>
        </p:sp>
        <p:sp>
          <p:nvSpPr>
            <p:cNvPr id="158" name="Rechteck 157">
              <a:extLst>
                <a:ext uri="{FF2B5EF4-FFF2-40B4-BE49-F238E27FC236}">
                  <a16:creationId xmlns:a16="http://schemas.microsoft.com/office/drawing/2014/main" id="{8DA8D535-4906-A08C-EFBA-F14EF7856403}"/>
                </a:ext>
              </a:extLst>
            </p:cNvPr>
            <p:cNvSpPr/>
            <p:nvPr/>
          </p:nvSpPr>
          <p:spPr>
            <a:xfrm>
              <a:off x="11602930" y="2720659"/>
              <a:ext cx="1036938" cy="231680"/>
            </a:xfrm>
            <a:prstGeom prst="rect">
              <a:avLst/>
            </a:prstGeom>
            <a:solidFill>
              <a:schemeClr val="bg1"/>
            </a:solidFill>
            <a:ln w="7112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6032" tIns="128016" rIns="256032" bIns="128016" rtlCol="0" anchor="ctr"/>
            <a:lstStyle/>
            <a:p>
              <a:pPr algn="ctr"/>
              <a:r>
                <a:rPr lang="de-DE" sz="2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chte Flanke</a:t>
              </a:r>
            </a:p>
          </p:txBody>
        </p:sp>
      </p:grpSp>
      <p:pic>
        <p:nvPicPr>
          <p:cNvPr id="181" name="Grafik 180" descr="Ein Bild, das Zylinder, Design enthält.&#10;&#10;KI-generierte Inhalte können fehlerhaft sein.">
            <a:extLst>
              <a:ext uri="{FF2B5EF4-FFF2-40B4-BE49-F238E27FC236}">
                <a16:creationId xmlns:a16="http://schemas.microsoft.com/office/drawing/2014/main" id="{9068C70A-90BD-975A-7ECC-5A8B82A5334C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2075789" y="9798225"/>
            <a:ext cx="5947508" cy="3638552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D3945E06-5C01-C4AC-C3DE-ABBFA676D4FE}"/>
              </a:ext>
            </a:extLst>
          </p:cNvPr>
          <p:cNvSpPr txBox="1"/>
          <p:nvPr/>
        </p:nvSpPr>
        <p:spPr>
          <a:xfrm>
            <a:off x="782516" y="9639801"/>
            <a:ext cx="33436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auder</a:t>
            </a:r>
            <a:r>
              <a:rPr kumimoji="0" lang="de-DE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 al., 2021</a:t>
            </a:r>
            <a:endParaRPr kumimoji="0" lang="de-DE" sz="2800" b="0" i="0" u="none" strike="noStrike" kern="1200" cap="none" spc="0" normalizeH="0" baseline="-2500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E64118D-AEBA-077B-A426-08535FDDB19A}"/>
              </a:ext>
            </a:extLst>
          </p:cNvPr>
          <p:cNvSpPr/>
          <p:nvPr/>
        </p:nvSpPr>
        <p:spPr>
          <a:xfrm>
            <a:off x="9486399" y="16061921"/>
            <a:ext cx="555173" cy="29110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</a:rPr>
              <a:t>1,0</a:t>
            </a:r>
          </a:p>
          <a:p>
            <a:endParaRPr lang="en-US" sz="11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0,8</a:t>
            </a:r>
          </a:p>
          <a:p>
            <a:endParaRPr lang="en-US" sz="11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0,6</a:t>
            </a:r>
          </a:p>
          <a:p>
            <a:endParaRPr lang="en-US" sz="11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0,4</a:t>
            </a:r>
          </a:p>
          <a:p>
            <a:endParaRPr lang="en-US" sz="11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0,2</a:t>
            </a:r>
          </a:p>
          <a:p>
            <a:endParaRPr lang="en-US" sz="11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0,0</a:t>
            </a:r>
          </a:p>
          <a:p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7CA0352-C73F-FD7C-160A-5A5D674B291C}"/>
              </a:ext>
            </a:extLst>
          </p:cNvPr>
          <p:cNvSpPr txBox="1"/>
          <p:nvPr/>
        </p:nvSpPr>
        <p:spPr>
          <a:xfrm rot="16200000">
            <a:off x="7563283" y="17147317"/>
            <a:ext cx="3594189" cy="649025"/>
          </a:xfrm>
          <a:prstGeom prst="rect">
            <a:avLst/>
          </a:prstGeom>
          <a:noFill/>
        </p:spPr>
        <p:txBody>
          <a:bodyPr wrap="none" lIns="216027" tIns="108014" rIns="216027" bIns="108014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chtig-Positiv-Rate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9CA62189-8979-EAEA-AAAD-CE8466E71BBE}"/>
              </a:ext>
            </a:extLst>
          </p:cNvPr>
          <p:cNvSpPr/>
          <p:nvPr/>
        </p:nvSpPr>
        <p:spPr>
          <a:xfrm>
            <a:off x="10009501" y="18789833"/>
            <a:ext cx="4235349" cy="2170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</a:rPr>
              <a:t>0,0     0,2      0,4      0,6     0,8     1,0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9C27FC6B-E2F9-4491-E64F-E7800C5F0775}"/>
              </a:ext>
            </a:extLst>
          </p:cNvPr>
          <p:cNvGrpSpPr/>
          <p:nvPr/>
        </p:nvGrpSpPr>
        <p:grpSpPr>
          <a:xfrm>
            <a:off x="4666034" y="17363650"/>
            <a:ext cx="2119113" cy="1367860"/>
            <a:chOff x="5411185" y="17309844"/>
            <a:chExt cx="2119113" cy="1367860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9A0A6FFA-4861-A60B-F305-96DD8A8AC5F7}"/>
                </a:ext>
              </a:extLst>
            </p:cNvPr>
            <p:cNvSpPr/>
            <p:nvPr/>
          </p:nvSpPr>
          <p:spPr>
            <a:xfrm>
              <a:off x="5411185" y="17309844"/>
              <a:ext cx="2119113" cy="136786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>
                <a:tabLst>
                  <a:tab pos="447675" algn="l"/>
                </a:tabLst>
              </a:pPr>
              <a:r>
                <a:rPr lang="en-US" sz="2000" dirty="0" err="1">
                  <a:solidFill>
                    <a:schemeClr val="tx1"/>
                  </a:solidFill>
                </a:rPr>
                <a:t>Genauigkeit</a:t>
              </a:r>
              <a:endParaRPr lang="en-US" sz="2000" dirty="0">
                <a:solidFill>
                  <a:schemeClr val="tx1"/>
                </a:solidFill>
              </a:endParaRPr>
            </a:p>
            <a:p>
              <a:pPr lvl="1">
                <a:tabLst>
                  <a:tab pos="447675" algn="l"/>
                </a:tabLst>
              </a:pPr>
              <a:r>
                <a:rPr lang="en-US" sz="2000" dirty="0" err="1">
                  <a:solidFill>
                    <a:schemeClr val="tx1"/>
                  </a:solidFill>
                </a:rPr>
                <a:t>Präzision</a:t>
              </a:r>
              <a:endParaRPr lang="en-US" sz="2000" dirty="0">
                <a:solidFill>
                  <a:schemeClr val="tx1"/>
                </a:solidFill>
              </a:endParaRPr>
            </a:p>
            <a:p>
              <a:pPr lvl="1">
                <a:tabLst>
                  <a:tab pos="447675" algn="l"/>
                </a:tabLst>
              </a:pPr>
              <a:r>
                <a:rPr lang="en-US" sz="2000" dirty="0" err="1">
                  <a:solidFill>
                    <a:schemeClr val="tx1"/>
                  </a:solidFill>
                </a:rPr>
                <a:t>Sensitivität</a:t>
              </a:r>
              <a:endParaRPr lang="en-US" sz="2000" dirty="0">
                <a:solidFill>
                  <a:schemeClr val="tx1"/>
                </a:solidFill>
              </a:endParaRPr>
            </a:p>
            <a:p>
              <a:pPr lvl="1">
                <a:tabLst>
                  <a:tab pos="447675" algn="l"/>
                </a:tabLst>
              </a:pPr>
              <a:r>
                <a:rPr lang="en-US" sz="2000" dirty="0">
                  <a:solidFill>
                    <a:schemeClr val="tx1"/>
                  </a:solidFill>
                </a:rPr>
                <a:t>F1-Wert</a:t>
              </a:r>
            </a:p>
          </p:txBody>
        </p: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7000ED4D-C6E5-1023-EE48-B9DC3B3CE723}"/>
                </a:ext>
              </a:extLst>
            </p:cNvPr>
            <p:cNvCxnSpPr/>
            <p:nvPr/>
          </p:nvCxnSpPr>
          <p:spPr>
            <a:xfrm>
              <a:off x="5554663" y="17537113"/>
              <a:ext cx="314325" cy="0"/>
            </a:xfrm>
            <a:prstGeom prst="line">
              <a:avLst/>
            </a:prstGeom>
            <a:ln w="28575">
              <a:solidFill>
                <a:srgbClr val="6BA4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53382EF8-E6D4-8086-2786-9226616663C8}"/>
                </a:ext>
              </a:extLst>
            </p:cNvPr>
            <p:cNvCxnSpPr/>
            <p:nvPr/>
          </p:nvCxnSpPr>
          <p:spPr>
            <a:xfrm>
              <a:off x="5562600" y="17856200"/>
              <a:ext cx="314325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43F91BFD-C60C-EC10-E889-8F7923AD9439}"/>
                </a:ext>
              </a:extLst>
            </p:cNvPr>
            <p:cNvCxnSpPr/>
            <p:nvPr/>
          </p:nvCxnSpPr>
          <p:spPr>
            <a:xfrm>
              <a:off x="5562600" y="18173698"/>
              <a:ext cx="314325" cy="0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105BBDAE-B226-6A99-2F28-BAE480BD8AF6}"/>
                </a:ext>
              </a:extLst>
            </p:cNvPr>
            <p:cNvCxnSpPr/>
            <p:nvPr/>
          </p:nvCxnSpPr>
          <p:spPr>
            <a:xfrm>
              <a:off x="5565775" y="18427698"/>
              <a:ext cx="314325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666C19C7-F538-A237-7CF0-4CE7F17D1162}"/>
              </a:ext>
            </a:extLst>
          </p:cNvPr>
          <p:cNvGrpSpPr/>
          <p:nvPr/>
        </p:nvGrpSpPr>
        <p:grpSpPr>
          <a:xfrm>
            <a:off x="10573138" y="18121786"/>
            <a:ext cx="3535615" cy="478761"/>
            <a:chOff x="5411184" y="18458904"/>
            <a:chExt cx="3535615" cy="478761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20C6D12D-8405-B1FE-2D54-982B4BF25B65}"/>
                </a:ext>
              </a:extLst>
            </p:cNvPr>
            <p:cNvSpPr/>
            <p:nvPr/>
          </p:nvSpPr>
          <p:spPr>
            <a:xfrm>
              <a:off x="5411184" y="18458904"/>
              <a:ext cx="3535615" cy="47876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>
                <a:tabLst>
                  <a:tab pos="447675" algn="l"/>
                </a:tabLst>
              </a:pPr>
              <a:r>
                <a:rPr lang="en-US" sz="2000" dirty="0">
                  <a:solidFill>
                    <a:schemeClr val="tx1"/>
                  </a:solidFill>
                </a:rPr>
                <a:t>ROC-</a:t>
              </a:r>
              <a:r>
                <a:rPr lang="en-US" sz="2000" dirty="0" err="1">
                  <a:solidFill>
                    <a:schemeClr val="tx1"/>
                  </a:solidFill>
                </a:rPr>
                <a:t>Kurve</a:t>
              </a:r>
              <a:r>
                <a:rPr lang="en-US" sz="2000" dirty="0">
                  <a:solidFill>
                    <a:schemeClr val="tx1"/>
                  </a:solidFill>
                </a:rPr>
                <a:t> (AUC = 0,87)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9AC5AE06-9724-76A1-BCEA-C406433768D1}"/>
                </a:ext>
              </a:extLst>
            </p:cNvPr>
            <p:cNvCxnSpPr/>
            <p:nvPr/>
          </p:nvCxnSpPr>
          <p:spPr>
            <a:xfrm>
              <a:off x="5545832" y="18691620"/>
              <a:ext cx="314325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Rechteck 56">
            <a:extLst>
              <a:ext uri="{FF2B5EF4-FFF2-40B4-BE49-F238E27FC236}">
                <a16:creationId xmlns:a16="http://schemas.microsoft.com/office/drawing/2014/main" id="{CB86FF3D-2735-29FA-7E37-299474D4301C}"/>
              </a:ext>
            </a:extLst>
          </p:cNvPr>
          <p:cNvSpPr/>
          <p:nvPr/>
        </p:nvSpPr>
        <p:spPr>
          <a:xfrm rot="20746807">
            <a:off x="10809272" y="12662100"/>
            <a:ext cx="2979314" cy="571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</a:rPr>
              <a:t>20  40  60  80  100 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88502EC5-3970-3703-3123-F9E3BF2814B5}"/>
              </a:ext>
            </a:extLst>
          </p:cNvPr>
          <p:cNvSpPr/>
          <p:nvPr/>
        </p:nvSpPr>
        <p:spPr>
          <a:xfrm>
            <a:off x="8402948" y="10543392"/>
            <a:ext cx="538071" cy="2105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</a:rPr>
              <a:t>20</a:t>
            </a:r>
            <a:endParaRPr lang="en-US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15</a:t>
            </a:r>
            <a:endParaRPr lang="en-US" sz="24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10</a:t>
            </a:r>
          </a:p>
          <a:p>
            <a:endParaRPr lang="en-US" sz="11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 5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90CDADEB-D212-11CA-A73A-070DEEBBE057}"/>
              </a:ext>
            </a:extLst>
          </p:cNvPr>
          <p:cNvSpPr/>
          <p:nvPr/>
        </p:nvSpPr>
        <p:spPr>
          <a:xfrm>
            <a:off x="2150525" y="10523171"/>
            <a:ext cx="1525858" cy="407404"/>
          </a:xfrm>
          <a:prstGeom prst="rect">
            <a:avLst/>
          </a:prstGeom>
          <a:solidFill>
            <a:schemeClr val="bg1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r"/>
            <a:r>
              <a:rPr lang="de-DE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ter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97CF8B4F-66A3-E96B-7D5A-82F1601FF583}"/>
              </a:ext>
            </a:extLst>
          </p:cNvPr>
          <p:cNvSpPr/>
          <p:nvPr/>
        </p:nvSpPr>
        <p:spPr>
          <a:xfrm>
            <a:off x="1902083" y="10898581"/>
            <a:ext cx="1724434" cy="303132"/>
          </a:xfrm>
          <a:prstGeom prst="rect">
            <a:avLst/>
          </a:prstGeom>
          <a:solidFill>
            <a:schemeClr val="bg1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r"/>
            <a:r>
              <a:rPr lang="de-DE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hnrad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B2A95F4D-4168-6979-9A74-474D54145C65}"/>
              </a:ext>
            </a:extLst>
          </p:cNvPr>
          <p:cNvSpPr/>
          <p:nvPr/>
        </p:nvSpPr>
        <p:spPr>
          <a:xfrm>
            <a:off x="1800761" y="11247591"/>
            <a:ext cx="2082422" cy="303132"/>
          </a:xfrm>
          <a:prstGeom prst="rect">
            <a:avLst/>
          </a:prstGeom>
          <a:solidFill>
            <a:schemeClr val="bg1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r"/>
            <a:r>
              <a:rPr lang="de-DE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skugel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CFB48B4-9252-674A-829D-7C80E8DE20EC}"/>
              </a:ext>
            </a:extLst>
          </p:cNvPr>
          <p:cNvSpPr/>
          <p:nvPr/>
        </p:nvSpPr>
        <p:spPr>
          <a:xfrm>
            <a:off x="1800761" y="11699563"/>
            <a:ext cx="2263492" cy="376848"/>
          </a:xfrm>
          <a:prstGeom prst="rect">
            <a:avLst/>
          </a:prstGeom>
          <a:solidFill>
            <a:schemeClr val="bg1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r"/>
            <a:r>
              <a:rPr lang="de-DE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nnfutter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129C140F-3E08-553D-8C0B-E20712337F69}"/>
              </a:ext>
            </a:extLst>
          </p:cNvPr>
          <p:cNvSpPr/>
          <p:nvPr/>
        </p:nvSpPr>
        <p:spPr>
          <a:xfrm>
            <a:off x="1800761" y="12258691"/>
            <a:ext cx="2470064" cy="467658"/>
          </a:xfrm>
          <a:prstGeom prst="rect">
            <a:avLst/>
          </a:prstGeom>
          <a:solidFill>
            <a:schemeClr val="bg1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r">
              <a:lnSpc>
                <a:spcPts val="5200"/>
              </a:lnSpc>
            </a:pPr>
            <a:r>
              <a:rPr lang="de-DE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punkt-</a:t>
            </a:r>
          </a:p>
          <a:p>
            <a:pPr algn="r">
              <a:lnSpc>
                <a:spcPts val="1100"/>
              </a:lnSpc>
            </a:pPr>
            <a:r>
              <a:rPr lang="de-DE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nnsystem</a:t>
            </a:r>
            <a:endParaRPr lang="de-DE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63348682-533C-C7ED-12EC-4F1651DBA266}"/>
              </a:ext>
            </a:extLst>
          </p:cNvPr>
          <p:cNvSpPr/>
          <p:nvPr/>
        </p:nvSpPr>
        <p:spPr>
          <a:xfrm rot="20756540">
            <a:off x="11408035" y="13144660"/>
            <a:ext cx="2317596" cy="742608"/>
          </a:xfrm>
          <a:prstGeom prst="rect">
            <a:avLst/>
          </a:prstGeom>
          <a:solidFill>
            <a:schemeClr val="bg1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/>
            <a:r>
              <a:rPr lang="de-DE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szeit in [min]</a:t>
            </a: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A233B85-D418-4BAB-FE3F-2D510781E349}"/>
              </a:ext>
            </a:extLst>
          </p:cNvPr>
          <p:cNvSpPr/>
          <p:nvPr/>
        </p:nvSpPr>
        <p:spPr>
          <a:xfrm rot="16200000">
            <a:off x="6958740" y="11369058"/>
            <a:ext cx="2560706" cy="338708"/>
          </a:xfrm>
          <a:prstGeom prst="rect">
            <a:avLst/>
          </a:prstGeom>
          <a:solidFill>
            <a:schemeClr val="bg1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/>
            <a:r>
              <a:rPr lang="de-DE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größerung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51C3A1-A8EB-E84F-AEA7-D3B58F8CBFEE}"/>
              </a:ext>
            </a:extLst>
          </p:cNvPr>
          <p:cNvSpPr/>
          <p:nvPr/>
        </p:nvSpPr>
        <p:spPr>
          <a:xfrm>
            <a:off x="8854687" y="9873449"/>
            <a:ext cx="4280580" cy="417360"/>
          </a:xfrm>
          <a:prstGeom prst="rect">
            <a:avLst/>
          </a:prstGeom>
          <a:solidFill>
            <a:schemeClr val="bg1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/>
            <a:r>
              <a:rPr lang="de-DE" sz="2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größerungsfaktor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23BCBAE-30A0-8882-5D61-0EE95FD445BB}"/>
              </a:ext>
            </a:extLst>
          </p:cNvPr>
          <p:cNvSpPr/>
          <p:nvPr/>
        </p:nvSpPr>
        <p:spPr>
          <a:xfrm rot="1383993">
            <a:off x="8559887" y="12675344"/>
            <a:ext cx="2144210" cy="4696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12  10   8   6 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EFF7ED50-E444-CCF0-EA76-BFC31652481F}"/>
              </a:ext>
            </a:extLst>
          </p:cNvPr>
          <p:cNvSpPr/>
          <p:nvPr/>
        </p:nvSpPr>
        <p:spPr>
          <a:xfrm rot="1422847">
            <a:off x="8130825" y="12979293"/>
            <a:ext cx="2401202" cy="770886"/>
          </a:xfrm>
          <a:prstGeom prst="rect">
            <a:avLst/>
          </a:prstGeom>
          <a:solidFill>
            <a:schemeClr val="bg1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/>
            <a:r>
              <a:rPr lang="de-DE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sicherheit [</a:t>
            </a:r>
            <a:r>
              <a:rPr lang="el-GR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de-DE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55FABF05-7E36-EBB7-C0A5-64EF61C73B2F}"/>
              </a:ext>
            </a:extLst>
          </p:cNvPr>
          <p:cNvSpPr/>
          <p:nvPr/>
        </p:nvSpPr>
        <p:spPr>
          <a:xfrm>
            <a:off x="4651246" y="18780308"/>
            <a:ext cx="4420795" cy="255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</a:rPr>
              <a:t>       0,2         0,4          0,6         0,8 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A8445E7-4533-FEA6-311A-6ADCEA6AD675}"/>
              </a:ext>
            </a:extLst>
          </p:cNvPr>
          <p:cNvSpPr/>
          <p:nvPr/>
        </p:nvSpPr>
        <p:spPr>
          <a:xfrm>
            <a:off x="4085232" y="15900192"/>
            <a:ext cx="555173" cy="29110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</a:rPr>
              <a:t>1,0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0,8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0,6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0,4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0,2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0984A32-4C56-A800-385F-F33F8B09200A}"/>
              </a:ext>
            </a:extLst>
          </p:cNvPr>
          <p:cNvSpPr txBox="1"/>
          <p:nvPr/>
        </p:nvSpPr>
        <p:spPr>
          <a:xfrm rot="16200000">
            <a:off x="2868165" y="17080269"/>
            <a:ext cx="2156296" cy="649025"/>
          </a:xfrm>
          <a:prstGeom prst="rect">
            <a:avLst/>
          </a:prstGeom>
          <a:noFill/>
        </p:spPr>
        <p:txBody>
          <a:bodyPr wrap="none" lIns="216027" tIns="108014" rIns="216027" bIns="108014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wertung</a:t>
            </a:r>
            <a:endParaRPr kumimoji="0" lang="de-DE" sz="3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15915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A0525AB1AB2042A05C8BEF3E68D64F" ma:contentTypeVersion="10" ma:contentTypeDescription="Create a new document." ma:contentTypeScope="" ma:versionID="d38efac67f341ab1cb2cd2dacff0dfc3">
  <xsd:schema xmlns:xsd="http://www.w3.org/2001/XMLSchema" xmlns:xs="http://www.w3.org/2001/XMLSchema" xmlns:p="http://schemas.microsoft.com/office/2006/metadata/properties" xmlns:ns2="d6e4028f-d3a7-46b8-a057-b748a50de6cb" xmlns:ns3="622acbc1-e70f-41b6-917a-05ed858e06e4" targetNamespace="http://schemas.microsoft.com/office/2006/metadata/properties" ma:root="true" ma:fieldsID="ebe1450abbef8cfc4697b4f45d72c516" ns2:_="" ns3:_="">
    <xsd:import namespace="d6e4028f-d3a7-46b8-a057-b748a50de6cb"/>
    <xsd:import namespace="622acbc1-e70f-41b6-917a-05ed858e06e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e4028f-d3a7-46b8-a057-b748a50de6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7ba07055-5ffd-4acb-bc18-97989f07bc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2acbc1-e70f-41b6-917a-05ed858e06e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412e09cd-ce1a-49a8-aa36-f3c4d6333fbc}" ma:internalName="TaxCatchAll" ma:showField="CatchAllData" ma:web="622acbc1-e70f-41b6-917a-05ed858e06e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6e4028f-d3a7-46b8-a057-b748a50de6cb">
      <Terms xmlns="http://schemas.microsoft.com/office/infopath/2007/PartnerControls"/>
    </lcf76f155ced4ddcb4097134ff3c332f>
    <TaxCatchAll xmlns="622acbc1-e70f-41b6-917a-05ed858e06e4" xsi:nil="true"/>
  </documentManagement>
</p:properties>
</file>

<file path=customXml/itemProps1.xml><?xml version="1.0" encoding="utf-8"?>
<ds:datastoreItem xmlns:ds="http://schemas.openxmlformats.org/officeDocument/2006/customXml" ds:itemID="{F49621F2-B8F3-47F4-8D09-1415F68B65E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02BBA4F-F583-4217-8F72-8FF4699D68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e4028f-d3a7-46b8-a057-b748a50de6cb"/>
    <ds:schemaRef ds:uri="622acbc1-e70f-41b6-917a-05ed858e06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9FD71C3-6C20-4506-9C07-FFC4D49888CF}">
  <ds:schemaRefs>
    <ds:schemaRef ds:uri="http://purl.org/dc/terms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622acbc1-e70f-41b6-917a-05ed858e06e4"/>
    <ds:schemaRef ds:uri="http://schemas.microsoft.com/office/2006/documentManagement/types"/>
    <ds:schemaRef ds:uri="http://schemas.openxmlformats.org/package/2006/metadata/core-properties"/>
    <ds:schemaRef ds:uri="d6e4028f-d3a7-46b8-a057-b748a50de6cb"/>
    <ds:schemaRef ds:uri="http://purl.org/dc/dcmitype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03</Words>
  <Application>Microsoft Office PowerPoint</Application>
  <PresentationFormat>Benutzerdefiniert</PresentationFormat>
  <Paragraphs>15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2" baseType="lpstr">
      <vt:lpstr>Aptos</vt:lpstr>
      <vt:lpstr>Arial</vt:lpstr>
      <vt:lpstr>Arial Rounded MT Bold</vt:lpstr>
      <vt:lpstr>Calibri</vt:lpstr>
      <vt:lpstr>Cambria Math</vt:lpstr>
      <vt:lpstr>Times New Roman</vt:lpstr>
      <vt:lpstr>Wingdings</vt:lpstr>
      <vt:lpstr>4_Standarddesign</vt:lpstr>
      <vt:lpstr>2_Standarddesign</vt:lpstr>
      <vt:lpstr>3_Standarddesign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iederkehr</dc:creator>
  <cp:lastModifiedBy>Wenzel</cp:lastModifiedBy>
  <cp:revision>10</cp:revision>
  <dcterms:created xsi:type="dcterms:W3CDTF">2025-10-10T11:53:21Z</dcterms:created>
  <dcterms:modified xsi:type="dcterms:W3CDTF">2025-12-17T12:0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A0525AB1AB2042A05C8BEF3E68D64F</vt:lpwstr>
  </property>
  <property fmtid="{D5CDD505-2E9C-101B-9397-08002B2CF9AE}" pid="3" name="MediaServiceImageTags">
    <vt:lpwstr/>
  </property>
</Properties>
</file>